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heme/theme3.xml" ContentType="application/vnd.openxmlformats-officedocument.theme+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Lst>
  <p:notesMasterIdLst>
    <p:notesMasterId r:id="rId11"/>
  </p:notesMasterIdLst>
  <p:sldIdLst>
    <p:sldId id="316" r:id="rId3"/>
    <p:sldId id="326" r:id="rId4"/>
    <p:sldId id="377" r:id="rId5"/>
    <p:sldId id="410" r:id="rId6"/>
    <p:sldId id="426" r:id="rId7"/>
    <p:sldId id="473" r:id="rId8"/>
    <p:sldId id="419" r:id="rId9"/>
    <p:sldId id="42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D3C2"/>
    <a:srgbClr val="9CD3C4"/>
    <a:srgbClr val="98D2BF"/>
    <a:srgbClr val="E6F4ED"/>
    <a:srgbClr val="A2D6BE"/>
    <a:srgbClr val="8FCDB1"/>
    <a:srgbClr val="439771"/>
    <a:srgbClr val="49A57B"/>
    <a:srgbClr val="8BCBAE"/>
    <a:srgbClr val="CAD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5E12D-E5AD-4CCD-BCE0-AE0E8523EA91}" v="214" dt="2022-11-10T16:17:14.595"/>
    <p1510:client id="{6F907AAC-D930-4567-876C-DBA2AD137AE7}" v="9" dt="2022-11-02T14:51:5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912" autoAdjust="0"/>
    <p:restoredTop sz="94249" autoAdjust="0"/>
  </p:normalViewPr>
  <p:slideViewPr>
    <p:cSldViewPr snapToGrid="0">
      <p:cViewPr varScale="1">
        <p:scale>
          <a:sx n="102" d="100"/>
          <a:sy n="102" d="100"/>
        </p:scale>
        <p:origin x="762" y="96"/>
      </p:cViewPr>
      <p:guideLst/>
    </p:cSldViewPr>
  </p:slideViewPr>
  <p:outlineViewPr>
    <p:cViewPr>
      <p:scale>
        <a:sx n="33" d="100"/>
        <a:sy n="33" d="100"/>
      </p:scale>
      <p:origin x="0" y="-36414"/>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i Khoury" userId="S::rami@auxi.ai::71bbf9ab-5347-4116-ad90-41b06fea083e" providerId="AD" clId="Web-{0F05E12D-E5AD-4CCD-BCE0-AE0E8523EA91}"/>
    <pc:docChg chg="addSld delSld modSld modSection">
      <pc:chgData name="Rami Khoury" userId="S::rami@auxi.ai::71bbf9ab-5347-4116-ad90-41b06fea083e" providerId="AD" clId="Web-{0F05E12D-E5AD-4CCD-BCE0-AE0E8523EA91}" dt="2022-11-10T16:17:14.314" v="197" actId="20577"/>
      <pc:docMkLst>
        <pc:docMk/>
      </pc:docMkLst>
      <pc:sldChg chg="addSp modSp">
        <pc:chgData name="Rami Khoury" userId="S::rami@auxi.ai::71bbf9ab-5347-4116-ad90-41b06fea083e" providerId="AD" clId="Web-{0F05E12D-E5AD-4CCD-BCE0-AE0E8523EA91}" dt="2022-11-10T16:12:19.730" v="12" actId="20577"/>
        <pc:sldMkLst>
          <pc:docMk/>
          <pc:sldMk cId="2001438181" sldId="414"/>
        </pc:sldMkLst>
        <pc:spChg chg="add mod">
          <ac:chgData name="Rami Khoury" userId="S::rami@auxi.ai::71bbf9ab-5347-4116-ad90-41b06fea083e" providerId="AD" clId="Web-{0F05E12D-E5AD-4CCD-BCE0-AE0E8523EA91}" dt="2022-11-10T16:12:19.730" v="12" actId="20577"/>
          <ac:spMkLst>
            <pc:docMk/>
            <pc:sldMk cId="2001438181" sldId="414"/>
            <ac:spMk id="3" creationId="{CC062EAB-C249-7060-E30B-C19AC4862F82}"/>
          </ac:spMkLst>
        </pc:spChg>
      </pc:sldChg>
      <pc:sldChg chg="addSp modSp">
        <pc:chgData name="Rami Khoury" userId="S::rami@auxi.ai::71bbf9ab-5347-4116-ad90-41b06fea083e" providerId="AD" clId="Web-{0F05E12D-E5AD-4CCD-BCE0-AE0E8523EA91}" dt="2022-11-10T16:13:13.481" v="22" actId="1076"/>
        <pc:sldMkLst>
          <pc:docMk/>
          <pc:sldMk cId="3992836934" sldId="416"/>
        </pc:sldMkLst>
        <pc:spChg chg="add mod">
          <ac:chgData name="Rami Khoury" userId="S::rami@auxi.ai::71bbf9ab-5347-4116-ad90-41b06fea083e" providerId="AD" clId="Web-{0F05E12D-E5AD-4CCD-BCE0-AE0E8523EA91}" dt="2022-11-10T16:13:13.481" v="22" actId="1076"/>
          <ac:spMkLst>
            <pc:docMk/>
            <pc:sldMk cId="3992836934" sldId="416"/>
            <ac:spMk id="3" creationId="{2E336C8A-9CEB-6D6A-7908-B25424C6F4E9}"/>
          </ac:spMkLst>
        </pc:spChg>
      </pc:sldChg>
      <pc:sldChg chg="addSp delSp modSp add del">
        <pc:chgData name="Rami Khoury" userId="S::rami@auxi.ai::71bbf9ab-5347-4116-ad90-41b06fea083e" providerId="AD" clId="Web-{0F05E12D-E5AD-4CCD-BCE0-AE0E8523EA91}" dt="2022-11-10T16:13:39.825" v="43" actId="20577"/>
        <pc:sldMkLst>
          <pc:docMk/>
          <pc:sldMk cId="3140112688" sldId="417"/>
        </pc:sldMkLst>
        <pc:spChg chg="add del mod">
          <ac:chgData name="Rami Khoury" userId="S::rami@auxi.ai::71bbf9ab-5347-4116-ad90-41b06fea083e" providerId="AD" clId="Web-{0F05E12D-E5AD-4CCD-BCE0-AE0E8523EA91}" dt="2022-11-10T16:13:18.262" v="26"/>
          <ac:spMkLst>
            <pc:docMk/>
            <pc:sldMk cId="3140112688" sldId="417"/>
            <ac:spMk id="3" creationId="{80B8F26D-0BE7-EDE6-7E62-3034B9E41D86}"/>
          </ac:spMkLst>
        </pc:spChg>
        <pc:spChg chg="add del mod">
          <ac:chgData name="Rami Khoury" userId="S::rami@auxi.ai::71bbf9ab-5347-4116-ad90-41b06fea083e" providerId="AD" clId="Web-{0F05E12D-E5AD-4CCD-BCE0-AE0E8523EA91}" dt="2022-11-10T16:13:34.247" v="31"/>
          <ac:spMkLst>
            <pc:docMk/>
            <pc:sldMk cId="3140112688" sldId="417"/>
            <ac:spMk id="4" creationId="{003CDC4E-FA54-8E28-DEE4-F6013A5F0413}"/>
          </ac:spMkLst>
        </pc:spChg>
        <pc:spChg chg="add mod">
          <ac:chgData name="Rami Khoury" userId="S::rami@auxi.ai::71bbf9ab-5347-4116-ad90-41b06fea083e" providerId="AD" clId="Web-{0F05E12D-E5AD-4CCD-BCE0-AE0E8523EA91}" dt="2022-11-10T16:13:39.825" v="43" actId="20577"/>
          <ac:spMkLst>
            <pc:docMk/>
            <pc:sldMk cId="3140112688" sldId="417"/>
            <ac:spMk id="7" creationId="{DFA4F06A-320F-144A-39C8-0A7EFF682458}"/>
          </ac:spMkLst>
        </pc:spChg>
      </pc:sldChg>
      <pc:sldChg chg="addSp modSp">
        <pc:chgData name="Rami Khoury" userId="S::rami@auxi.ai::71bbf9ab-5347-4116-ad90-41b06fea083e" providerId="AD" clId="Web-{0F05E12D-E5AD-4CCD-BCE0-AE0E8523EA91}" dt="2022-11-10T16:14:26.045" v="109" actId="20577"/>
        <pc:sldMkLst>
          <pc:docMk/>
          <pc:sldMk cId="2730051296" sldId="419"/>
        </pc:sldMkLst>
        <pc:spChg chg="add mod">
          <ac:chgData name="Rami Khoury" userId="S::rami@auxi.ai::71bbf9ab-5347-4116-ad90-41b06fea083e" providerId="AD" clId="Web-{0F05E12D-E5AD-4CCD-BCE0-AE0E8523EA91}" dt="2022-11-10T16:14:26.045" v="109" actId="20577"/>
          <ac:spMkLst>
            <pc:docMk/>
            <pc:sldMk cId="2730051296" sldId="419"/>
            <ac:spMk id="6" creationId="{240A4CCC-E414-E154-DC3F-DE4D0B9E4E6A}"/>
          </ac:spMkLst>
        </pc:spChg>
        <pc:spChg chg="mod">
          <ac:chgData name="Rami Khoury" userId="S::rami@auxi.ai::71bbf9ab-5347-4116-ad90-41b06fea083e" providerId="AD" clId="Web-{0F05E12D-E5AD-4CCD-BCE0-AE0E8523EA91}" dt="2022-11-10T16:14:07.841" v="86" actId="14100"/>
          <ac:spMkLst>
            <pc:docMk/>
            <pc:sldMk cId="2730051296" sldId="419"/>
            <ac:spMk id="25" creationId="{EE47316F-41E8-68C0-898F-3ED8FC7651F0}"/>
          </ac:spMkLst>
        </pc:spChg>
      </pc:sldChg>
      <pc:sldChg chg="addSp modSp">
        <pc:chgData name="Rami Khoury" userId="S::rami@auxi.ai::71bbf9ab-5347-4116-ad90-41b06fea083e" providerId="AD" clId="Web-{0F05E12D-E5AD-4CCD-BCE0-AE0E8523EA91}" dt="2022-11-10T16:14:41.279" v="113" actId="20577"/>
        <pc:sldMkLst>
          <pc:docMk/>
          <pc:sldMk cId="3660211604" sldId="425"/>
        </pc:sldMkLst>
        <pc:spChg chg="add mod">
          <ac:chgData name="Rami Khoury" userId="S::rami@auxi.ai::71bbf9ab-5347-4116-ad90-41b06fea083e" providerId="AD" clId="Web-{0F05E12D-E5AD-4CCD-BCE0-AE0E8523EA91}" dt="2022-11-10T16:14:41.279" v="113" actId="20577"/>
          <ac:spMkLst>
            <pc:docMk/>
            <pc:sldMk cId="3660211604" sldId="425"/>
            <ac:spMk id="6" creationId="{EE65DF4C-9F65-1789-93A2-39521A5967AF}"/>
          </ac:spMkLst>
        </pc:spChg>
      </pc:sldChg>
      <pc:sldChg chg="addSp modSp">
        <pc:chgData name="Rami Khoury" userId="S::rami@auxi.ai::71bbf9ab-5347-4116-ad90-41b06fea083e" providerId="AD" clId="Web-{0F05E12D-E5AD-4CCD-BCE0-AE0E8523EA91}" dt="2022-11-10T16:14:50.905" v="116" actId="20577"/>
        <pc:sldMkLst>
          <pc:docMk/>
          <pc:sldMk cId="2388409517" sldId="426"/>
        </pc:sldMkLst>
        <pc:spChg chg="add mod">
          <ac:chgData name="Rami Khoury" userId="S::rami@auxi.ai::71bbf9ab-5347-4116-ad90-41b06fea083e" providerId="AD" clId="Web-{0F05E12D-E5AD-4CCD-BCE0-AE0E8523EA91}" dt="2022-11-10T16:14:50.905" v="116" actId="20577"/>
          <ac:spMkLst>
            <pc:docMk/>
            <pc:sldMk cId="2388409517" sldId="426"/>
            <ac:spMk id="6" creationId="{044719B5-9F0C-5EC8-9638-6E2163754880}"/>
          </ac:spMkLst>
        </pc:spChg>
      </pc:sldChg>
      <pc:sldChg chg="addSp modSp">
        <pc:chgData name="Rami Khoury" userId="S::rami@auxi.ai::71bbf9ab-5347-4116-ad90-41b06fea083e" providerId="AD" clId="Web-{0F05E12D-E5AD-4CCD-BCE0-AE0E8523EA91}" dt="2022-11-10T16:15:35.640" v="135" actId="20577"/>
        <pc:sldMkLst>
          <pc:docMk/>
          <pc:sldMk cId="568402001" sldId="443"/>
        </pc:sldMkLst>
        <pc:spChg chg="add mod">
          <ac:chgData name="Rami Khoury" userId="S::rami@auxi.ai::71bbf9ab-5347-4116-ad90-41b06fea083e" providerId="AD" clId="Web-{0F05E12D-E5AD-4CCD-BCE0-AE0E8523EA91}" dt="2022-11-10T16:15:35.640" v="135" actId="20577"/>
          <ac:spMkLst>
            <pc:docMk/>
            <pc:sldMk cId="568402001" sldId="443"/>
            <ac:spMk id="4" creationId="{EEAB5E9B-8B9C-B581-B93B-650C37F994E0}"/>
          </ac:spMkLst>
        </pc:spChg>
      </pc:sldChg>
      <pc:sldChg chg="addSp modSp">
        <pc:chgData name="Rami Khoury" userId="S::rami@auxi.ai::71bbf9ab-5347-4116-ad90-41b06fea083e" providerId="AD" clId="Web-{0F05E12D-E5AD-4CCD-BCE0-AE0E8523EA91}" dt="2022-11-10T16:16:20.719" v="152" actId="20577"/>
        <pc:sldMkLst>
          <pc:docMk/>
          <pc:sldMk cId="484966792" sldId="454"/>
        </pc:sldMkLst>
        <pc:spChg chg="add mod">
          <ac:chgData name="Rami Khoury" userId="S::rami@auxi.ai::71bbf9ab-5347-4116-ad90-41b06fea083e" providerId="AD" clId="Web-{0F05E12D-E5AD-4CCD-BCE0-AE0E8523EA91}" dt="2022-11-10T16:16:20.719" v="152" actId="20577"/>
          <ac:spMkLst>
            <pc:docMk/>
            <pc:sldMk cId="484966792" sldId="454"/>
            <ac:spMk id="21" creationId="{54E6AAF6-0C68-4272-16C1-488C0BAC66A2}"/>
          </ac:spMkLst>
        </pc:spChg>
      </pc:sldChg>
      <pc:sldChg chg="addSp modSp">
        <pc:chgData name="Rami Khoury" userId="S::rami@auxi.ai::71bbf9ab-5347-4116-ad90-41b06fea083e" providerId="AD" clId="Web-{0F05E12D-E5AD-4CCD-BCE0-AE0E8523EA91}" dt="2022-11-10T16:16:54.235" v="184" actId="20577"/>
        <pc:sldMkLst>
          <pc:docMk/>
          <pc:sldMk cId="2275337115" sldId="456"/>
        </pc:sldMkLst>
        <pc:spChg chg="add mod">
          <ac:chgData name="Rami Khoury" userId="S::rami@auxi.ai::71bbf9ab-5347-4116-ad90-41b06fea083e" providerId="AD" clId="Web-{0F05E12D-E5AD-4CCD-BCE0-AE0E8523EA91}" dt="2022-11-10T16:16:54.235" v="184" actId="20577"/>
          <ac:spMkLst>
            <pc:docMk/>
            <pc:sldMk cId="2275337115" sldId="456"/>
            <ac:spMk id="6" creationId="{417D2393-8D83-3215-0F8E-6157E1FB171F}"/>
          </ac:spMkLst>
        </pc:spChg>
      </pc:sldChg>
      <pc:sldChg chg="addSp modSp">
        <pc:chgData name="Rami Khoury" userId="S::rami@auxi.ai::71bbf9ab-5347-4116-ad90-41b06fea083e" providerId="AD" clId="Web-{0F05E12D-E5AD-4CCD-BCE0-AE0E8523EA91}" dt="2022-11-10T16:17:14.314" v="197" actId="20577"/>
        <pc:sldMkLst>
          <pc:docMk/>
          <pc:sldMk cId="4219718538" sldId="462"/>
        </pc:sldMkLst>
        <pc:spChg chg="add mod">
          <ac:chgData name="Rami Khoury" userId="S::rami@auxi.ai::71bbf9ab-5347-4116-ad90-41b06fea083e" providerId="AD" clId="Web-{0F05E12D-E5AD-4CCD-BCE0-AE0E8523EA91}" dt="2022-11-10T16:17:14.314" v="197" actId="20577"/>
          <ac:spMkLst>
            <pc:docMk/>
            <pc:sldMk cId="4219718538" sldId="462"/>
            <ac:spMk id="4" creationId="{D17F0239-A2E4-3888-0FD8-708D862B48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2E753A-2A8E-4FA4-A857-233A56515A45}"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1192C7-DD78-40CC-9E1E-119A9A8D5AF1}" type="slidenum">
              <a:rPr lang="en-US" smtClean="0"/>
              <a:t>‹#›</a:t>
            </a:fld>
            <a:endParaRPr lang="en-US"/>
          </a:p>
        </p:txBody>
      </p:sp>
    </p:spTree>
    <p:extLst>
      <p:ext uri="{BB962C8B-B14F-4D97-AF65-F5344CB8AC3E}">
        <p14:creationId xmlns:p14="http://schemas.microsoft.com/office/powerpoint/2010/main" val="284300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a:t>
            </a:fld>
            <a:endParaRPr lang="en-US"/>
          </a:p>
        </p:txBody>
      </p:sp>
    </p:spTree>
    <p:extLst>
      <p:ext uri="{BB962C8B-B14F-4D97-AF65-F5344CB8AC3E}">
        <p14:creationId xmlns:p14="http://schemas.microsoft.com/office/powerpoint/2010/main" val="1459621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a:t>
            </a:fld>
            <a:endParaRPr lang="en-US"/>
          </a:p>
        </p:txBody>
      </p:sp>
    </p:spTree>
    <p:extLst>
      <p:ext uri="{BB962C8B-B14F-4D97-AF65-F5344CB8AC3E}">
        <p14:creationId xmlns:p14="http://schemas.microsoft.com/office/powerpoint/2010/main" val="144250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a:t>
            </a:fld>
            <a:endParaRPr lang="en-US"/>
          </a:p>
        </p:txBody>
      </p:sp>
    </p:spTree>
    <p:extLst>
      <p:ext uri="{BB962C8B-B14F-4D97-AF65-F5344CB8AC3E}">
        <p14:creationId xmlns:p14="http://schemas.microsoft.com/office/powerpoint/2010/main" val="3189266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a:t>
            </a:fld>
            <a:endParaRPr lang="en-US"/>
          </a:p>
        </p:txBody>
      </p:sp>
    </p:spTree>
    <p:extLst>
      <p:ext uri="{BB962C8B-B14F-4D97-AF65-F5344CB8AC3E}">
        <p14:creationId xmlns:p14="http://schemas.microsoft.com/office/powerpoint/2010/main" val="2202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a:t>
            </a:fld>
            <a:endParaRPr lang="en-US"/>
          </a:p>
        </p:txBody>
      </p:sp>
    </p:spTree>
    <p:extLst>
      <p:ext uri="{BB962C8B-B14F-4D97-AF65-F5344CB8AC3E}">
        <p14:creationId xmlns:p14="http://schemas.microsoft.com/office/powerpoint/2010/main" val="3673206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7</a:t>
            </a:fld>
            <a:endParaRPr lang="en-US"/>
          </a:p>
        </p:txBody>
      </p:sp>
    </p:spTree>
    <p:extLst>
      <p:ext uri="{BB962C8B-B14F-4D97-AF65-F5344CB8AC3E}">
        <p14:creationId xmlns:p14="http://schemas.microsoft.com/office/powerpoint/2010/main" val="1891130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8</a:t>
            </a:fld>
            <a:endParaRPr lang="en-US"/>
          </a:p>
        </p:txBody>
      </p:sp>
    </p:spTree>
    <p:extLst>
      <p:ext uri="{BB962C8B-B14F-4D97-AF65-F5344CB8AC3E}">
        <p14:creationId xmlns:p14="http://schemas.microsoft.com/office/powerpoint/2010/main" val="3901262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9A178C1-A3AB-42DA-BD9F-02AB940D83BC}"/>
              </a:ext>
            </a:extLst>
          </p:cNvPr>
          <p:cNvSpPr>
            <a:spLocks noGrp="1"/>
          </p:cNvSpPr>
          <p:nvPr>
            <p:ph type="title"/>
          </p:nvPr>
        </p:nvSpPr>
        <p:spPr>
          <a:xfrm>
            <a:off x="838200" y="365126"/>
            <a:ext cx="10515600" cy="768350"/>
          </a:xfrm>
        </p:spPr>
        <p:txBody>
          <a:bodyPr>
            <a:normAutofit/>
          </a:bodyPr>
          <a:lstStyle>
            <a:lvl1pPr algn="ctr">
              <a:defRPr sz="4000">
                <a:latin typeface="Tahoma" panose="020B060403050404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DEFBAF10-DC5A-4BE2-AF72-24BC22FFEA67}"/>
              </a:ext>
            </a:extLst>
          </p:cNvPr>
          <p:cNvCxnSpPr/>
          <p:nvPr userDrawn="1"/>
        </p:nvCxnSpPr>
        <p:spPr>
          <a:xfrm>
            <a:off x="4714875" y="1133476"/>
            <a:ext cx="2762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9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665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EC6455-DFBA-4FC6-912D-7CA9E97462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FFBE9-A651-402B-A68B-4ADB2D1EB9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LogoText">
            <a:extLst>
              <a:ext uri="{FF2B5EF4-FFF2-40B4-BE49-F238E27FC236}">
                <a16:creationId xmlns:a16="http://schemas.microsoft.com/office/drawing/2014/main" id="{829385E8-B333-C51C-1469-DC584208D0E3}"/>
              </a:ext>
            </a:extLst>
          </p:cNvPr>
          <p:cNvSpPr txBox="1"/>
          <p:nvPr userDrawn="1">
            <p:custDataLst>
              <p:tags r:id="rId4"/>
            </p:custDataLst>
          </p:nvPr>
        </p:nvSpPr>
        <p:spPr>
          <a:xfrm>
            <a:off x="10429058" y="6529807"/>
            <a:ext cx="640457" cy="161583"/>
          </a:xfrm>
          <a:prstGeom prst="rect">
            <a:avLst/>
          </a:prstGeom>
          <a:noFill/>
        </p:spPr>
        <p:txBody>
          <a:bodyPr wrap="square" lIns="44450" tIns="19050" rIns="44450" bIns="1905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j-lt"/>
                <a:ea typeface="+mn-ea"/>
                <a:cs typeface="Arial" panose="020B0604020202020204" pitchFamily="34" charset="0"/>
              </a:rPr>
              <a:t>01/25/2023</a:t>
            </a:r>
          </a:p>
        </p:txBody>
      </p:sp>
      <p:sp>
        <p:nvSpPr>
          <p:cNvPr id="6" name="Content Placeholder 2">
            <a:extLst>
              <a:ext uri="{FF2B5EF4-FFF2-40B4-BE49-F238E27FC236}">
                <a16:creationId xmlns:a16="http://schemas.microsoft.com/office/drawing/2014/main" id="{24699937-9159-C88C-3118-DA7FF8370B93}"/>
              </a:ext>
            </a:extLst>
          </p:cNvPr>
          <p:cNvSpPr txBox="1">
            <a:spLocks/>
          </p:cNvSpPr>
          <p:nvPr userDrawn="1"/>
        </p:nvSpPr>
        <p:spPr>
          <a:xfrm>
            <a:off x="554736" y="6569049"/>
            <a:ext cx="3483865" cy="110800"/>
          </a:xfrm>
          <a:prstGeom prst="rect">
            <a:avLst/>
          </a:prstGeom>
        </p:spPr>
        <p:txBody>
          <a:bodyPr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j-lt"/>
                <a:ea typeface="+mn-ea"/>
                <a:cs typeface="+mn-cs"/>
              </a:rPr>
              <a:t>Source: www.auxi.ai </a:t>
            </a:r>
          </a:p>
        </p:txBody>
      </p:sp>
      <p:pic>
        <p:nvPicPr>
          <p:cNvPr id="7" name="Picture 6" descr="Logo, company name&#10;&#10;Description automatically generated">
            <a:extLst>
              <a:ext uri="{FF2B5EF4-FFF2-40B4-BE49-F238E27FC236}">
                <a16:creationId xmlns:a16="http://schemas.microsoft.com/office/drawing/2014/main" id="{9A0E4693-A9BB-3FC3-1927-CB83F8E467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cxnSp>
        <p:nvCxnSpPr>
          <p:cNvPr id="8" name="Straight Connector 7">
            <a:extLst>
              <a:ext uri="{FF2B5EF4-FFF2-40B4-BE49-F238E27FC236}">
                <a16:creationId xmlns:a16="http://schemas.microsoft.com/office/drawing/2014/main" id="{2A02E6C8-F963-A0C1-095E-0B43F738F44A}"/>
              </a:ext>
            </a:extLst>
          </p:cNvPr>
          <p:cNvCxnSpPr/>
          <p:nvPr userDrawn="1"/>
        </p:nvCxnSpPr>
        <p:spPr>
          <a:xfrm>
            <a:off x="251648" y="-535634"/>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48B0FBD5-E1A4-B69C-450C-91624EA0407A}"/>
              </a:ext>
            </a:extLst>
          </p:cNvPr>
          <p:cNvSpPr txBox="1">
            <a:spLocks/>
          </p:cNvSpPr>
          <p:nvPr userDrawn="1"/>
        </p:nvSpPr>
        <p:spPr>
          <a:xfrm>
            <a:off x="11154508" y="6417897"/>
            <a:ext cx="39858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CAE1DF-9AA2-46A4-9D05-5CEA4E3CC4AD}" type="slidenum">
              <a:rPr lang="en-US" sz="1000" smtClean="0">
                <a:solidFill>
                  <a:schemeClr val="tx1"/>
                </a:solidFill>
                <a:ea typeface="Tahoma" panose="020B0604030504040204" pitchFamily="34" charset="0"/>
                <a:cs typeface="Tahoma" panose="020B0604030504040204" pitchFamily="34" charset="0"/>
              </a:rPr>
              <a:pPr algn="r"/>
              <a:t>‹#›</a:t>
            </a:fld>
            <a:endParaRPr lang="en-US" sz="1100">
              <a:solidFill>
                <a:schemeClr val="tx1"/>
              </a:solidFill>
              <a:ea typeface="Tahoma" panose="020B0604030504040204" pitchFamily="34" charset="0"/>
              <a:cs typeface="Tahoma" panose="020B0604030504040204" pitchFamily="34" charset="0"/>
            </a:endParaRPr>
          </a:p>
        </p:txBody>
      </p:sp>
      <p:cxnSp>
        <p:nvCxnSpPr>
          <p:cNvPr id="13" name="Straight Connector 12">
            <a:extLst>
              <a:ext uri="{FF2B5EF4-FFF2-40B4-BE49-F238E27FC236}">
                <a16:creationId xmlns:a16="http://schemas.microsoft.com/office/drawing/2014/main" id="{F1619C54-4128-E600-56AD-8F766CCBF434}"/>
              </a:ext>
            </a:extLst>
          </p:cNvPr>
          <p:cNvCxnSpPr/>
          <p:nvPr userDrawn="1"/>
        </p:nvCxnSpPr>
        <p:spPr>
          <a:xfrm>
            <a:off x="10157648" y="5725466"/>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Diamond 22">
            <a:extLst>
              <a:ext uri="{FF2B5EF4-FFF2-40B4-BE49-F238E27FC236}">
                <a16:creationId xmlns:a16="http://schemas.microsoft.com/office/drawing/2014/main" id="{9F332D41-702B-56F6-4D67-B234FF198D3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92024"/>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5.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46.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7.xml"/></Relationships>
</file>

<file path=ppt/slides/_rels/slide4.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4.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51.xml"/><Relationship Id="rId5" Type="http://schemas.openxmlformats.org/officeDocument/2006/relationships/image" Target="../media/image5.png"/><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7.sv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6.xml"/><Relationship Id="rId7" Type="http://schemas.openxmlformats.org/officeDocument/2006/relationships/image" Target="../media/image4.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png"/><Relationship Id="rId5" Type="http://schemas.openxmlformats.org/officeDocument/2006/relationships/notesSlide" Target="../notesSlides/notesSlide6.xml"/><Relationship Id="rId4" Type="http://schemas.openxmlformats.org/officeDocument/2006/relationships/slideLayout" Target="../slideLayouts/slideLayout4.xml"/><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7.xml"/><Relationship Id="rId5" Type="http://schemas.openxmlformats.org/officeDocument/2006/relationships/image" Target="../media/image5.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5" name="Rectangle 14">
            <a:extLst>
              <a:ext uri="{FF2B5EF4-FFF2-40B4-BE49-F238E27FC236}">
                <a16:creationId xmlns:a16="http://schemas.microsoft.com/office/drawing/2014/main" id="{6F27A648-8554-55EB-A672-586799D655AB}"/>
              </a:ext>
            </a:extLst>
          </p:cNvPr>
          <p:cNvSpPr/>
          <p:nvPr/>
        </p:nvSpPr>
        <p:spPr>
          <a:xfrm>
            <a:off x="2743200" y="1729696"/>
            <a:ext cx="2925683" cy="573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16" name="Rectangle 15">
            <a:extLst>
              <a:ext uri="{FF2B5EF4-FFF2-40B4-BE49-F238E27FC236}">
                <a16:creationId xmlns:a16="http://schemas.microsoft.com/office/drawing/2014/main" id="{FA89EB6D-7F87-A677-F1D5-F6C858F52D4B}"/>
              </a:ext>
            </a:extLst>
          </p:cNvPr>
          <p:cNvSpPr/>
          <p:nvPr/>
        </p:nvSpPr>
        <p:spPr>
          <a:xfrm>
            <a:off x="2743200" y="2302707"/>
            <a:ext cx="2925683" cy="1530445"/>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22" name="Rectangle 21">
            <a:extLst>
              <a:ext uri="{FF2B5EF4-FFF2-40B4-BE49-F238E27FC236}">
                <a16:creationId xmlns:a16="http://schemas.microsoft.com/office/drawing/2014/main" id="{FEF8D526-F8EB-99A5-72BA-4E1F6621E4B4}"/>
              </a:ext>
            </a:extLst>
          </p:cNvPr>
          <p:cNvSpPr/>
          <p:nvPr/>
        </p:nvSpPr>
        <p:spPr>
          <a:xfrm>
            <a:off x="5727388" y="1729696"/>
            <a:ext cx="2925683" cy="573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23" name="Rectangle 22">
            <a:extLst>
              <a:ext uri="{FF2B5EF4-FFF2-40B4-BE49-F238E27FC236}">
                <a16:creationId xmlns:a16="http://schemas.microsoft.com/office/drawing/2014/main" id="{840EB9CF-F0AB-5CCC-8C85-FCA157ACCF9F}"/>
              </a:ext>
            </a:extLst>
          </p:cNvPr>
          <p:cNvSpPr/>
          <p:nvPr/>
        </p:nvSpPr>
        <p:spPr>
          <a:xfrm>
            <a:off x="5727388" y="2302707"/>
            <a:ext cx="2925683" cy="1530445"/>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39" name="Rectangle 38">
            <a:extLst>
              <a:ext uri="{FF2B5EF4-FFF2-40B4-BE49-F238E27FC236}">
                <a16:creationId xmlns:a16="http://schemas.microsoft.com/office/drawing/2014/main" id="{82B8A877-4DD6-F0EA-B716-74E7A56AD41C}"/>
              </a:ext>
            </a:extLst>
          </p:cNvPr>
          <p:cNvSpPr/>
          <p:nvPr/>
        </p:nvSpPr>
        <p:spPr>
          <a:xfrm>
            <a:off x="2743200" y="3899781"/>
            <a:ext cx="2925683" cy="573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40" name="Rectangle 39">
            <a:extLst>
              <a:ext uri="{FF2B5EF4-FFF2-40B4-BE49-F238E27FC236}">
                <a16:creationId xmlns:a16="http://schemas.microsoft.com/office/drawing/2014/main" id="{18AD07A2-6CEA-68D6-C19F-148F81C5D019}"/>
              </a:ext>
            </a:extLst>
          </p:cNvPr>
          <p:cNvSpPr/>
          <p:nvPr/>
        </p:nvSpPr>
        <p:spPr>
          <a:xfrm>
            <a:off x="2743200" y="4472791"/>
            <a:ext cx="2925683" cy="1530445"/>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42" name="Rectangle 41">
            <a:extLst>
              <a:ext uri="{FF2B5EF4-FFF2-40B4-BE49-F238E27FC236}">
                <a16:creationId xmlns:a16="http://schemas.microsoft.com/office/drawing/2014/main" id="{88B44324-B872-52EB-6CB1-1DCE93E87BE5}"/>
              </a:ext>
            </a:extLst>
          </p:cNvPr>
          <p:cNvSpPr/>
          <p:nvPr/>
        </p:nvSpPr>
        <p:spPr>
          <a:xfrm>
            <a:off x="5727388" y="3899781"/>
            <a:ext cx="2925683" cy="573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45" name="Rectangle 44">
            <a:extLst>
              <a:ext uri="{FF2B5EF4-FFF2-40B4-BE49-F238E27FC236}">
                <a16:creationId xmlns:a16="http://schemas.microsoft.com/office/drawing/2014/main" id="{013271AF-D5FE-FA20-7250-88AB8A782BBA}"/>
              </a:ext>
            </a:extLst>
          </p:cNvPr>
          <p:cNvSpPr/>
          <p:nvPr/>
        </p:nvSpPr>
        <p:spPr>
          <a:xfrm>
            <a:off x="5727388" y="4472791"/>
            <a:ext cx="2925683" cy="1530445"/>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3" name="Rectangle 2">
            <a:extLst>
              <a:ext uri="{FF2B5EF4-FFF2-40B4-BE49-F238E27FC236}">
                <a16:creationId xmlns:a16="http://schemas.microsoft.com/office/drawing/2014/main" id="{7BB91E68-8187-C162-3B02-48F5BFD8263F}"/>
              </a:ext>
            </a:extLst>
          </p:cNvPr>
          <p:cNvSpPr/>
          <p:nvPr/>
        </p:nvSpPr>
        <p:spPr>
          <a:xfrm>
            <a:off x="8711577" y="1729696"/>
            <a:ext cx="2925683" cy="573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4" name="Rectangle 3">
            <a:extLst>
              <a:ext uri="{FF2B5EF4-FFF2-40B4-BE49-F238E27FC236}">
                <a16:creationId xmlns:a16="http://schemas.microsoft.com/office/drawing/2014/main" id="{CBE9653D-88B3-244D-05EC-8CEE3669521D}"/>
              </a:ext>
            </a:extLst>
          </p:cNvPr>
          <p:cNvSpPr/>
          <p:nvPr/>
        </p:nvSpPr>
        <p:spPr>
          <a:xfrm>
            <a:off x="8711577" y="2302707"/>
            <a:ext cx="2925683" cy="1530445"/>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8" name="Rectangle 7">
            <a:extLst>
              <a:ext uri="{FF2B5EF4-FFF2-40B4-BE49-F238E27FC236}">
                <a16:creationId xmlns:a16="http://schemas.microsoft.com/office/drawing/2014/main" id="{6CC9DB32-00D4-0FB6-0BBE-F7E5CA9212A2}"/>
              </a:ext>
            </a:extLst>
          </p:cNvPr>
          <p:cNvSpPr/>
          <p:nvPr/>
        </p:nvSpPr>
        <p:spPr>
          <a:xfrm>
            <a:off x="8711577" y="3899781"/>
            <a:ext cx="2925683" cy="5730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9" name="Rectangle 8">
            <a:extLst>
              <a:ext uri="{FF2B5EF4-FFF2-40B4-BE49-F238E27FC236}">
                <a16:creationId xmlns:a16="http://schemas.microsoft.com/office/drawing/2014/main" id="{7E4F22B7-CB24-BC14-ECA3-8EC7AEA8372F}"/>
              </a:ext>
            </a:extLst>
          </p:cNvPr>
          <p:cNvSpPr/>
          <p:nvPr/>
        </p:nvSpPr>
        <p:spPr>
          <a:xfrm>
            <a:off x="8711577" y="4472791"/>
            <a:ext cx="2925683" cy="1530445"/>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13" name="Rectangle 12">
            <a:extLst>
              <a:ext uri="{FF2B5EF4-FFF2-40B4-BE49-F238E27FC236}">
                <a16:creationId xmlns:a16="http://schemas.microsoft.com/office/drawing/2014/main" id="{273E416A-7A0F-4213-B22E-AF3C251A7C0B}"/>
              </a:ext>
            </a:extLst>
          </p:cNvPr>
          <p:cNvSpPr/>
          <p:nvPr/>
        </p:nvSpPr>
        <p:spPr>
          <a:xfrm>
            <a:off x="554732" y="1729696"/>
            <a:ext cx="2082451" cy="4273540"/>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21" name="Picture 20" descr="Shape&#10;&#10;Description automatically generated">
            <a:extLst>
              <a:ext uri="{FF2B5EF4-FFF2-40B4-BE49-F238E27FC236}">
                <a16:creationId xmlns:a16="http://schemas.microsoft.com/office/drawing/2014/main" id="{0A771699-95C5-E7D5-0A4B-D3F9C2CF6A8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76200" y="2122332"/>
            <a:ext cx="1639511" cy="1571172"/>
          </a:xfrm>
          <a:prstGeom prst="rect">
            <a:avLst/>
          </a:prstGeom>
        </p:spPr>
      </p:pic>
      <p:pic>
        <p:nvPicPr>
          <p:cNvPr id="24" name="Picture 23" descr="Shape&#10;&#10;Description automatically generated">
            <a:extLst>
              <a:ext uri="{FF2B5EF4-FFF2-40B4-BE49-F238E27FC236}">
                <a16:creationId xmlns:a16="http://schemas.microsoft.com/office/drawing/2014/main" id="{3C08F8D3-FBC1-7A23-5789-C418E21FDB7F}"/>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776200" y="4039427"/>
            <a:ext cx="1639511" cy="1571172"/>
          </a:xfrm>
          <a:prstGeom prst="rect">
            <a:avLst/>
          </a:prstGeom>
        </p:spPr>
      </p:pic>
    </p:spTree>
    <p:custDataLst>
      <p:tags r:id="rId1"/>
    </p:custDataLst>
    <p:extLst>
      <p:ext uri="{BB962C8B-B14F-4D97-AF65-F5344CB8AC3E}">
        <p14:creationId xmlns:p14="http://schemas.microsoft.com/office/powerpoint/2010/main" val="4259800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pic>
        <p:nvPicPr>
          <p:cNvPr id="4" name="Picture 3" descr="Shape&#10;&#10;Description automatically generated">
            <a:extLst>
              <a:ext uri="{FF2B5EF4-FFF2-40B4-BE49-F238E27FC236}">
                <a16:creationId xmlns:a16="http://schemas.microsoft.com/office/drawing/2014/main" id="{75EC10D5-ACC4-741F-23C8-5CF9E357A23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363523" y="2158209"/>
            <a:ext cx="3464953" cy="3320525"/>
          </a:xfrm>
          <a:prstGeom prst="rect">
            <a:avLst/>
          </a:prstGeom>
        </p:spPr>
      </p:pic>
      <p:cxnSp>
        <p:nvCxnSpPr>
          <p:cNvPr id="7" name="Connector: Elbow 6">
            <a:extLst>
              <a:ext uri="{FF2B5EF4-FFF2-40B4-BE49-F238E27FC236}">
                <a16:creationId xmlns:a16="http://schemas.microsoft.com/office/drawing/2014/main" id="{052758B7-8B95-1423-D079-BBE823FEAE6B}"/>
              </a:ext>
            </a:extLst>
          </p:cNvPr>
          <p:cNvCxnSpPr>
            <a:cxnSpLocks/>
            <a:endCxn id="8" idx="1"/>
          </p:cNvCxnSpPr>
          <p:nvPr/>
        </p:nvCxnSpPr>
        <p:spPr>
          <a:xfrm>
            <a:off x="7170057" y="2801257"/>
            <a:ext cx="2539999" cy="770308"/>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1BCD53F-FC24-7197-DDDA-2C3426F6B4E3}"/>
              </a:ext>
            </a:extLst>
          </p:cNvPr>
          <p:cNvSpPr txBox="1"/>
          <p:nvPr/>
        </p:nvSpPr>
        <p:spPr>
          <a:xfrm>
            <a:off x="9710056" y="3124199"/>
            <a:ext cx="1785257" cy="894732"/>
          </a:xfrm>
          <a:prstGeom prst="rect">
            <a:avLst/>
          </a:prstGeom>
          <a:noFill/>
        </p:spPr>
        <p:txBody>
          <a:bodyPr vert="horz" wrap="square" rtlCol="0">
            <a:spAutoFit/>
          </a:bodyPr>
          <a:lstStyle/>
          <a:p>
            <a:pPr>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cxnSp>
        <p:nvCxnSpPr>
          <p:cNvPr id="11" name="Connector: Elbow 10">
            <a:extLst>
              <a:ext uri="{FF2B5EF4-FFF2-40B4-BE49-F238E27FC236}">
                <a16:creationId xmlns:a16="http://schemas.microsoft.com/office/drawing/2014/main" id="{A60A4E03-DF01-0E74-761B-B180B8137F85}"/>
              </a:ext>
            </a:extLst>
          </p:cNvPr>
          <p:cNvCxnSpPr>
            <a:cxnSpLocks/>
            <a:endCxn id="12" idx="1"/>
          </p:cNvCxnSpPr>
          <p:nvPr/>
        </p:nvCxnSpPr>
        <p:spPr>
          <a:xfrm>
            <a:off x="7431314" y="5050971"/>
            <a:ext cx="1219200" cy="484946"/>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1FD61B4-98D8-A975-65AF-BEB10AF65007}"/>
              </a:ext>
            </a:extLst>
          </p:cNvPr>
          <p:cNvSpPr txBox="1"/>
          <p:nvPr/>
        </p:nvSpPr>
        <p:spPr>
          <a:xfrm>
            <a:off x="8650514" y="5227050"/>
            <a:ext cx="2155371" cy="617733"/>
          </a:xfrm>
          <a:prstGeom prst="rect">
            <a:avLst/>
          </a:prstGeom>
          <a:noFill/>
        </p:spPr>
        <p:txBody>
          <a:bodyPr vert="horz" wrap="square" rtlCol="0">
            <a:spAutoFit/>
          </a:bodyPr>
          <a:lstStyle/>
          <a:p>
            <a:pPr>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cxnSp>
        <p:nvCxnSpPr>
          <p:cNvPr id="17" name="Connector: Elbow 16">
            <a:extLst>
              <a:ext uri="{FF2B5EF4-FFF2-40B4-BE49-F238E27FC236}">
                <a16:creationId xmlns:a16="http://schemas.microsoft.com/office/drawing/2014/main" id="{D5326ABC-9D55-BAC7-4EFA-A16DE6E54792}"/>
              </a:ext>
            </a:extLst>
          </p:cNvPr>
          <p:cNvCxnSpPr>
            <a:cxnSpLocks/>
            <a:endCxn id="26" idx="3"/>
          </p:cNvCxnSpPr>
          <p:nvPr/>
        </p:nvCxnSpPr>
        <p:spPr>
          <a:xfrm rot="10800000">
            <a:off x="3251199" y="2676831"/>
            <a:ext cx="1494972" cy="44736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4FE204-7A0D-AE2E-71BE-3BF403ADE95C}"/>
              </a:ext>
            </a:extLst>
          </p:cNvPr>
          <p:cNvSpPr txBox="1"/>
          <p:nvPr/>
        </p:nvSpPr>
        <p:spPr>
          <a:xfrm>
            <a:off x="1095828" y="2367964"/>
            <a:ext cx="2155371" cy="617733"/>
          </a:xfrm>
          <a:prstGeom prst="rect">
            <a:avLst/>
          </a:prstGeom>
          <a:noFill/>
        </p:spPr>
        <p:txBody>
          <a:bodyPr vert="horz" wrap="square" rtlCol="0">
            <a:spAutoFit/>
          </a:bodyPr>
          <a:lstStyle/>
          <a:p>
            <a:pPr>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cxnSp>
        <p:nvCxnSpPr>
          <p:cNvPr id="34" name="Connector: Elbow 33">
            <a:extLst>
              <a:ext uri="{FF2B5EF4-FFF2-40B4-BE49-F238E27FC236}">
                <a16:creationId xmlns:a16="http://schemas.microsoft.com/office/drawing/2014/main" id="{1E9FDE69-B189-C23B-3E33-6BB77B8B2823}"/>
              </a:ext>
            </a:extLst>
          </p:cNvPr>
          <p:cNvCxnSpPr>
            <a:cxnSpLocks/>
            <a:endCxn id="59" idx="3"/>
          </p:cNvCxnSpPr>
          <p:nvPr/>
        </p:nvCxnSpPr>
        <p:spPr>
          <a:xfrm rot="10800000" flipV="1">
            <a:off x="3285837" y="4252685"/>
            <a:ext cx="1649020" cy="1173905"/>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516A661B-547F-ECC7-8E94-82BD19A3AF18}"/>
              </a:ext>
            </a:extLst>
          </p:cNvPr>
          <p:cNvSpPr txBox="1"/>
          <p:nvPr/>
        </p:nvSpPr>
        <p:spPr>
          <a:xfrm>
            <a:off x="1130466" y="5117724"/>
            <a:ext cx="2155371" cy="617733"/>
          </a:xfrm>
          <a:prstGeom prst="rect">
            <a:avLst/>
          </a:prstGeom>
          <a:noFill/>
        </p:spPr>
        <p:txBody>
          <a:bodyPr vert="horz" wrap="square" rtlCol="0">
            <a:spAutoFit/>
          </a:bodyPr>
          <a:lstStyle/>
          <a:p>
            <a:pPr>
              <a:lnSpc>
                <a:spcPct val="150000"/>
              </a:lnSpc>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2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091946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Freeform 3">
            <a:extLst>
              <a:ext uri="{FF2B5EF4-FFF2-40B4-BE49-F238E27FC236}">
                <a16:creationId xmlns:a16="http://schemas.microsoft.com/office/drawing/2014/main" id="{02446E67-EEB5-98D6-84B3-9C8844D120E4}"/>
              </a:ext>
            </a:extLst>
          </p:cNvPr>
          <p:cNvSpPr/>
          <p:nvPr/>
        </p:nvSpPr>
        <p:spPr>
          <a:xfrm>
            <a:off x="8209057" y="3438384"/>
            <a:ext cx="2582630" cy="2582630"/>
          </a:xfrm>
          <a:custGeom>
            <a:avLst/>
            <a:gdLst>
              <a:gd name="connsiteX0" fmla="*/ 1406733 w 1981861"/>
              <a:gd name="connsiteY0" fmla="*/ 315985 h 1981861"/>
              <a:gd name="connsiteX1" fmla="*/ 1560891 w 1981861"/>
              <a:gd name="connsiteY1" fmla="*/ 186625 h 1981861"/>
              <a:gd name="connsiteX2" fmla="*/ 1684045 w 1981861"/>
              <a:gd name="connsiteY2" fmla="*/ 289963 h 1981861"/>
              <a:gd name="connsiteX3" fmla="*/ 1583419 w 1981861"/>
              <a:gd name="connsiteY3" fmla="*/ 464241 h 1981861"/>
              <a:gd name="connsiteX4" fmla="*/ 1743301 w 1981861"/>
              <a:gd name="connsiteY4" fmla="*/ 741164 h 1981861"/>
              <a:gd name="connsiteX5" fmla="*/ 1944543 w 1981861"/>
              <a:gd name="connsiteY5" fmla="*/ 741160 h 1981861"/>
              <a:gd name="connsiteX6" fmla="*/ 1972460 w 1981861"/>
              <a:gd name="connsiteY6" fmla="*/ 899483 h 1981861"/>
              <a:gd name="connsiteX7" fmla="*/ 1783352 w 1981861"/>
              <a:gd name="connsiteY7" fmla="*/ 968307 h 1981861"/>
              <a:gd name="connsiteX8" fmla="*/ 1727826 w 1981861"/>
              <a:gd name="connsiteY8" fmla="*/ 1283213 h 1981861"/>
              <a:gd name="connsiteX9" fmla="*/ 1881990 w 1981861"/>
              <a:gd name="connsiteY9" fmla="*/ 1412566 h 1981861"/>
              <a:gd name="connsiteX10" fmla="*/ 1801607 w 1981861"/>
              <a:gd name="connsiteY10" fmla="*/ 1551793 h 1981861"/>
              <a:gd name="connsiteX11" fmla="*/ 1612502 w 1981861"/>
              <a:gd name="connsiteY11" fmla="*/ 1482959 h 1981861"/>
              <a:gd name="connsiteX12" fmla="*/ 1367549 w 1981861"/>
              <a:gd name="connsiteY12" fmla="*/ 1688499 h 1981861"/>
              <a:gd name="connsiteX13" fmla="*/ 1402500 w 1981861"/>
              <a:gd name="connsiteY13" fmla="*/ 1886683 h 1981861"/>
              <a:gd name="connsiteX14" fmla="*/ 1251429 w 1981861"/>
              <a:gd name="connsiteY14" fmla="*/ 1941669 h 1981861"/>
              <a:gd name="connsiteX15" fmla="*/ 1150812 w 1981861"/>
              <a:gd name="connsiteY15" fmla="*/ 1767385 h 1981861"/>
              <a:gd name="connsiteX16" fmla="*/ 831048 w 1981861"/>
              <a:gd name="connsiteY16" fmla="*/ 1767385 h 1981861"/>
              <a:gd name="connsiteX17" fmla="*/ 730432 w 1981861"/>
              <a:gd name="connsiteY17" fmla="*/ 1941669 h 1981861"/>
              <a:gd name="connsiteX18" fmla="*/ 579361 w 1981861"/>
              <a:gd name="connsiteY18" fmla="*/ 1886683 h 1981861"/>
              <a:gd name="connsiteX19" fmla="*/ 614312 w 1981861"/>
              <a:gd name="connsiteY19" fmla="*/ 1688499 h 1981861"/>
              <a:gd name="connsiteX20" fmla="*/ 369359 w 1981861"/>
              <a:gd name="connsiteY20" fmla="*/ 1482959 h 1981861"/>
              <a:gd name="connsiteX21" fmla="*/ 180254 w 1981861"/>
              <a:gd name="connsiteY21" fmla="*/ 1551793 h 1981861"/>
              <a:gd name="connsiteX22" fmla="*/ 99871 w 1981861"/>
              <a:gd name="connsiteY22" fmla="*/ 1412566 h 1981861"/>
              <a:gd name="connsiteX23" fmla="*/ 254035 w 1981861"/>
              <a:gd name="connsiteY23" fmla="*/ 1283213 h 1981861"/>
              <a:gd name="connsiteX24" fmla="*/ 198509 w 1981861"/>
              <a:gd name="connsiteY24" fmla="*/ 968307 h 1981861"/>
              <a:gd name="connsiteX25" fmla="*/ 9401 w 1981861"/>
              <a:gd name="connsiteY25" fmla="*/ 899483 h 1981861"/>
              <a:gd name="connsiteX26" fmla="*/ 37318 w 1981861"/>
              <a:gd name="connsiteY26" fmla="*/ 741160 h 1981861"/>
              <a:gd name="connsiteX27" fmla="*/ 238560 w 1981861"/>
              <a:gd name="connsiteY27" fmla="*/ 741165 h 1981861"/>
              <a:gd name="connsiteX28" fmla="*/ 398442 w 1981861"/>
              <a:gd name="connsiteY28" fmla="*/ 464242 h 1981861"/>
              <a:gd name="connsiteX29" fmla="*/ 297816 w 1981861"/>
              <a:gd name="connsiteY29" fmla="*/ 289963 h 1981861"/>
              <a:gd name="connsiteX30" fmla="*/ 420970 w 1981861"/>
              <a:gd name="connsiteY30" fmla="*/ 186625 h 1981861"/>
              <a:gd name="connsiteX31" fmla="*/ 575128 w 1981861"/>
              <a:gd name="connsiteY31" fmla="*/ 315985 h 1981861"/>
              <a:gd name="connsiteX32" fmla="*/ 875608 w 1981861"/>
              <a:gd name="connsiteY32" fmla="*/ 206619 h 1981861"/>
              <a:gd name="connsiteX33" fmla="*/ 910548 w 1981861"/>
              <a:gd name="connsiteY33" fmla="*/ 8433 h 1981861"/>
              <a:gd name="connsiteX34" fmla="*/ 1071313 w 1981861"/>
              <a:gd name="connsiteY34" fmla="*/ 8433 h 1981861"/>
              <a:gd name="connsiteX35" fmla="*/ 1106254 w 1981861"/>
              <a:gd name="connsiteY35" fmla="*/ 206619 h 1981861"/>
              <a:gd name="connsiteX36" fmla="*/ 1406734 w 1981861"/>
              <a:gd name="connsiteY36" fmla="*/ 315985 h 1981861"/>
              <a:gd name="connsiteX37" fmla="*/ 1406733 w 1981861"/>
              <a:gd name="connsiteY37" fmla="*/ 315985 h 198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81861" h="1981861">
                <a:moveTo>
                  <a:pt x="1406733" y="315985"/>
                </a:moveTo>
                <a:lnTo>
                  <a:pt x="1560891" y="186625"/>
                </a:lnTo>
                <a:lnTo>
                  <a:pt x="1684045" y="289963"/>
                </a:lnTo>
                <a:lnTo>
                  <a:pt x="1583419" y="464241"/>
                </a:lnTo>
                <a:cubicBezTo>
                  <a:pt x="1654970" y="544731"/>
                  <a:pt x="1709370" y="638955"/>
                  <a:pt x="1743301" y="741164"/>
                </a:cubicBezTo>
                <a:lnTo>
                  <a:pt x="1944543" y="741160"/>
                </a:lnTo>
                <a:lnTo>
                  <a:pt x="1972460" y="899483"/>
                </a:lnTo>
                <a:lnTo>
                  <a:pt x="1783352" y="968307"/>
                </a:lnTo>
                <a:cubicBezTo>
                  <a:pt x="1786425" y="1075958"/>
                  <a:pt x="1767532" y="1183105"/>
                  <a:pt x="1727826" y="1283213"/>
                </a:cubicBezTo>
                <a:lnTo>
                  <a:pt x="1881990" y="1412566"/>
                </a:lnTo>
                <a:lnTo>
                  <a:pt x="1801607" y="1551793"/>
                </a:lnTo>
                <a:lnTo>
                  <a:pt x="1612502" y="1482959"/>
                </a:lnTo>
                <a:cubicBezTo>
                  <a:pt x="1545660" y="1567400"/>
                  <a:pt x="1462314" y="1637335"/>
                  <a:pt x="1367549" y="1688499"/>
                </a:cubicBezTo>
                <a:lnTo>
                  <a:pt x="1402500" y="1886683"/>
                </a:lnTo>
                <a:lnTo>
                  <a:pt x="1251429" y="1941669"/>
                </a:lnTo>
                <a:lnTo>
                  <a:pt x="1150812" y="1767385"/>
                </a:lnTo>
                <a:cubicBezTo>
                  <a:pt x="1045331" y="1789105"/>
                  <a:pt x="936530" y="1789105"/>
                  <a:pt x="831048" y="1767385"/>
                </a:cubicBezTo>
                <a:lnTo>
                  <a:pt x="730432" y="1941669"/>
                </a:lnTo>
                <a:lnTo>
                  <a:pt x="579361" y="1886683"/>
                </a:lnTo>
                <a:lnTo>
                  <a:pt x="614312" y="1688499"/>
                </a:lnTo>
                <a:cubicBezTo>
                  <a:pt x="519547" y="1637335"/>
                  <a:pt x="436201" y="1567399"/>
                  <a:pt x="369359" y="1482959"/>
                </a:cubicBezTo>
                <a:lnTo>
                  <a:pt x="180254" y="1551793"/>
                </a:lnTo>
                <a:lnTo>
                  <a:pt x="99871" y="1412566"/>
                </a:lnTo>
                <a:lnTo>
                  <a:pt x="254035" y="1283213"/>
                </a:lnTo>
                <a:cubicBezTo>
                  <a:pt x="214328" y="1183106"/>
                  <a:pt x="195435" y="1075958"/>
                  <a:pt x="198509" y="968307"/>
                </a:cubicBezTo>
                <a:lnTo>
                  <a:pt x="9401" y="899483"/>
                </a:lnTo>
                <a:lnTo>
                  <a:pt x="37318" y="741160"/>
                </a:lnTo>
                <a:lnTo>
                  <a:pt x="238560" y="741165"/>
                </a:lnTo>
                <a:cubicBezTo>
                  <a:pt x="272491" y="638955"/>
                  <a:pt x="326891" y="544731"/>
                  <a:pt x="398442" y="464242"/>
                </a:cubicBezTo>
                <a:lnTo>
                  <a:pt x="297816" y="289963"/>
                </a:lnTo>
                <a:lnTo>
                  <a:pt x="420970" y="186625"/>
                </a:lnTo>
                <a:lnTo>
                  <a:pt x="575128" y="315985"/>
                </a:lnTo>
                <a:cubicBezTo>
                  <a:pt x="666819" y="259498"/>
                  <a:pt x="769059" y="222286"/>
                  <a:pt x="875608" y="206619"/>
                </a:cubicBezTo>
                <a:lnTo>
                  <a:pt x="910548" y="8433"/>
                </a:lnTo>
                <a:lnTo>
                  <a:pt x="1071313" y="8433"/>
                </a:lnTo>
                <a:lnTo>
                  <a:pt x="1106254" y="206619"/>
                </a:lnTo>
                <a:cubicBezTo>
                  <a:pt x="1212803" y="222286"/>
                  <a:pt x="1315042" y="259498"/>
                  <a:pt x="1406734" y="315985"/>
                </a:cubicBezTo>
                <a:lnTo>
                  <a:pt x="1406733" y="3159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18762" tIns="484561" rIns="418762" bIns="519222" numCol="1" spcCol="1270" anchor="ctr" anchorCtr="0">
            <a:noAutofit/>
          </a:bodyPr>
          <a:lstStyle/>
          <a:p>
            <a:pPr lvl="0" algn="ctr" defTabSz="711200">
              <a:lnSpc>
                <a:spcPct val="90000"/>
              </a:lnSpc>
              <a:spcBef>
                <a:spcPct val="0"/>
              </a:spcBef>
              <a:spcAft>
                <a:spcPct val="35000"/>
              </a:spcAft>
            </a:pPr>
            <a:r>
              <a:rPr lang="en-US" sz="1400" kern="1200" dirty="0">
                <a:solidFill>
                  <a:schemeClr val="bg1"/>
                </a:solidFill>
              </a:rPr>
              <a:t>Enter Text Here</a:t>
            </a:r>
          </a:p>
        </p:txBody>
      </p:sp>
      <p:sp>
        <p:nvSpPr>
          <p:cNvPr id="7" name="Freeform 5">
            <a:extLst>
              <a:ext uri="{FF2B5EF4-FFF2-40B4-BE49-F238E27FC236}">
                <a16:creationId xmlns:a16="http://schemas.microsoft.com/office/drawing/2014/main" id="{4ED7C8C2-7A48-292B-5638-03755D61A681}"/>
              </a:ext>
            </a:extLst>
          </p:cNvPr>
          <p:cNvSpPr/>
          <p:nvPr/>
        </p:nvSpPr>
        <p:spPr>
          <a:xfrm>
            <a:off x="6706436" y="2827944"/>
            <a:ext cx="1878277" cy="1878277"/>
          </a:xfrm>
          <a:custGeom>
            <a:avLst/>
            <a:gdLst>
              <a:gd name="connsiteX0" fmla="*/ 1078489 w 1441354"/>
              <a:gd name="connsiteY0" fmla="*/ 365058 h 1441354"/>
              <a:gd name="connsiteX1" fmla="*/ 1291137 w 1441354"/>
              <a:gd name="connsiteY1" fmla="*/ 300970 h 1441354"/>
              <a:gd name="connsiteX2" fmla="*/ 1369384 w 1441354"/>
              <a:gd name="connsiteY2" fmla="*/ 436497 h 1441354"/>
              <a:gd name="connsiteX3" fmla="*/ 1207558 w 1441354"/>
              <a:gd name="connsiteY3" fmla="*/ 588612 h 1441354"/>
              <a:gd name="connsiteX4" fmla="*/ 1207558 w 1441354"/>
              <a:gd name="connsiteY4" fmla="*/ 852742 h 1441354"/>
              <a:gd name="connsiteX5" fmla="*/ 1369384 w 1441354"/>
              <a:gd name="connsiteY5" fmla="*/ 1004857 h 1441354"/>
              <a:gd name="connsiteX6" fmla="*/ 1291137 w 1441354"/>
              <a:gd name="connsiteY6" fmla="*/ 1140384 h 1441354"/>
              <a:gd name="connsiteX7" fmla="*/ 1078489 w 1441354"/>
              <a:gd name="connsiteY7" fmla="*/ 1076296 h 1441354"/>
              <a:gd name="connsiteX8" fmla="*/ 849746 w 1441354"/>
              <a:gd name="connsiteY8" fmla="*/ 1208361 h 1441354"/>
              <a:gd name="connsiteX9" fmla="*/ 798924 w 1441354"/>
              <a:gd name="connsiteY9" fmla="*/ 1424564 h 1441354"/>
              <a:gd name="connsiteX10" fmla="*/ 642430 w 1441354"/>
              <a:gd name="connsiteY10" fmla="*/ 1424564 h 1441354"/>
              <a:gd name="connsiteX11" fmla="*/ 591608 w 1441354"/>
              <a:gd name="connsiteY11" fmla="*/ 1208360 h 1441354"/>
              <a:gd name="connsiteX12" fmla="*/ 362865 w 1441354"/>
              <a:gd name="connsiteY12" fmla="*/ 1076295 h 1441354"/>
              <a:gd name="connsiteX13" fmla="*/ 150217 w 1441354"/>
              <a:gd name="connsiteY13" fmla="*/ 1140384 h 1441354"/>
              <a:gd name="connsiteX14" fmla="*/ 71970 w 1441354"/>
              <a:gd name="connsiteY14" fmla="*/ 1004857 h 1441354"/>
              <a:gd name="connsiteX15" fmla="*/ 233796 w 1441354"/>
              <a:gd name="connsiteY15" fmla="*/ 852742 h 1441354"/>
              <a:gd name="connsiteX16" fmla="*/ 233796 w 1441354"/>
              <a:gd name="connsiteY16" fmla="*/ 588612 h 1441354"/>
              <a:gd name="connsiteX17" fmla="*/ 71970 w 1441354"/>
              <a:gd name="connsiteY17" fmla="*/ 436497 h 1441354"/>
              <a:gd name="connsiteX18" fmla="*/ 150217 w 1441354"/>
              <a:gd name="connsiteY18" fmla="*/ 300970 h 1441354"/>
              <a:gd name="connsiteX19" fmla="*/ 362865 w 1441354"/>
              <a:gd name="connsiteY19" fmla="*/ 365058 h 1441354"/>
              <a:gd name="connsiteX20" fmla="*/ 591608 w 1441354"/>
              <a:gd name="connsiteY20" fmla="*/ 232993 h 1441354"/>
              <a:gd name="connsiteX21" fmla="*/ 642430 w 1441354"/>
              <a:gd name="connsiteY21" fmla="*/ 16790 h 1441354"/>
              <a:gd name="connsiteX22" fmla="*/ 798924 w 1441354"/>
              <a:gd name="connsiteY22" fmla="*/ 16790 h 1441354"/>
              <a:gd name="connsiteX23" fmla="*/ 849746 w 1441354"/>
              <a:gd name="connsiteY23" fmla="*/ 232994 h 1441354"/>
              <a:gd name="connsiteX24" fmla="*/ 1078489 w 1441354"/>
              <a:gd name="connsiteY24" fmla="*/ 365059 h 1441354"/>
              <a:gd name="connsiteX25" fmla="*/ 1078489 w 1441354"/>
              <a:gd name="connsiteY25" fmla="*/ 365058 h 144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41354" h="1441354">
                <a:moveTo>
                  <a:pt x="1078489" y="365058"/>
                </a:moveTo>
                <a:lnTo>
                  <a:pt x="1291137" y="300970"/>
                </a:lnTo>
                <a:lnTo>
                  <a:pt x="1369384" y="436497"/>
                </a:lnTo>
                <a:lnTo>
                  <a:pt x="1207558" y="588612"/>
                </a:lnTo>
                <a:cubicBezTo>
                  <a:pt x="1231016" y="675093"/>
                  <a:pt x="1231016" y="766261"/>
                  <a:pt x="1207558" y="852742"/>
                </a:cubicBezTo>
                <a:lnTo>
                  <a:pt x="1369384" y="1004857"/>
                </a:lnTo>
                <a:lnTo>
                  <a:pt x="1291137" y="1140384"/>
                </a:lnTo>
                <a:lnTo>
                  <a:pt x="1078489" y="1076296"/>
                </a:lnTo>
                <a:cubicBezTo>
                  <a:pt x="1015323" y="1139851"/>
                  <a:pt x="936369" y="1185435"/>
                  <a:pt x="849746" y="1208361"/>
                </a:cubicBezTo>
                <a:lnTo>
                  <a:pt x="798924" y="1424564"/>
                </a:lnTo>
                <a:lnTo>
                  <a:pt x="642430" y="1424564"/>
                </a:lnTo>
                <a:lnTo>
                  <a:pt x="591608" y="1208360"/>
                </a:lnTo>
                <a:cubicBezTo>
                  <a:pt x="504985" y="1185435"/>
                  <a:pt x="426031" y="1139850"/>
                  <a:pt x="362865" y="1076295"/>
                </a:cubicBezTo>
                <a:lnTo>
                  <a:pt x="150217" y="1140384"/>
                </a:lnTo>
                <a:lnTo>
                  <a:pt x="71970" y="1004857"/>
                </a:lnTo>
                <a:lnTo>
                  <a:pt x="233796" y="852742"/>
                </a:lnTo>
                <a:cubicBezTo>
                  <a:pt x="210338" y="766261"/>
                  <a:pt x="210338" y="675093"/>
                  <a:pt x="233796" y="588612"/>
                </a:cubicBezTo>
                <a:lnTo>
                  <a:pt x="71970" y="436497"/>
                </a:lnTo>
                <a:lnTo>
                  <a:pt x="150217" y="300970"/>
                </a:lnTo>
                <a:lnTo>
                  <a:pt x="362865" y="365058"/>
                </a:lnTo>
                <a:cubicBezTo>
                  <a:pt x="426031" y="301503"/>
                  <a:pt x="504985" y="255919"/>
                  <a:pt x="591608" y="232993"/>
                </a:cubicBezTo>
                <a:lnTo>
                  <a:pt x="642430" y="16790"/>
                </a:lnTo>
                <a:lnTo>
                  <a:pt x="798924" y="16790"/>
                </a:lnTo>
                <a:lnTo>
                  <a:pt x="849746" y="232994"/>
                </a:lnTo>
                <a:cubicBezTo>
                  <a:pt x="936369" y="255919"/>
                  <a:pt x="1015323" y="301504"/>
                  <a:pt x="1078489" y="365059"/>
                </a:cubicBezTo>
                <a:lnTo>
                  <a:pt x="1078489" y="36505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3185" tIns="385378" rIns="383185" bIns="385378" numCol="1" spcCol="1270" anchor="ctr" anchorCtr="0">
            <a:noAutofit/>
          </a:bodyPr>
          <a:lstStyle/>
          <a:p>
            <a:pPr lvl="0" algn="ctr" defTabSz="711200">
              <a:lnSpc>
                <a:spcPct val="90000"/>
              </a:lnSpc>
              <a:spcBef>
                <a:spcPct val="0"/>
              </a:spcBef>
              <a:spcAft>
                <a:spcPct val="35000"/>
              </a:spcAft>
            </a:pPr>
            <a:r>
              <a:rPr lang="en-US" sz="1400" kern="1200" dirty="0">
                <a:solidFill>
                  <a:schemeClr val="bg1"/>
                </a:solidFill>
              </a:rPr>
              <a:t>Enter Text Here</a:t>
            </a:r>
          </a:p>
        </p:txBody>
      </p:sp>
      <p:sp>
        <p:nvSpPr>
          <p:cNvPr id="9" name="Freeform 7">
            <a:extLst>
              <a:ext uri="{FF2B5EF4-FFF2-40B4-BE49-F238E27FC236}">
                <a16:creationId xmlns:a16="http://schemas.microsoft.com/office/drawing/2014/main" id="{56ECF59F-3C05-0ADB-9CA2-CC8D6949E579}"/>
              </a:ext>
            </a:extLst>
          </p:cNvPr>
          <p:cNvSpPr/>
          <p:nvPr/>
        </p:nvSpPr>
        <p:spPr>
          <a:xfrm>
            <a:off x="7551660" y="1325323"/>
            <a:ext cx="2253931" cy="2253931"/>
          </a:xfrm>
          <a:custGeom>
            <a:avLst/>
            <a:gdLst>
              <a:gd name="connsiteX0" fmla="*/ 1056698 w 1412232"/>
              <a:gd name="connsiteY0" fmla="*/ 357682 h 1412232"/>
              <a:gd name="connsiteX1" fmla="*/ 1265050 w 1412232"/>
              <a:gd name="connsiteY1" fmla="*/ 294889 h 1412232"/>
              <a:gd name="connsiteX2" fmla="*/ 1341716 w 1412232"/>
              <a:gd name="connsiteY2" fmla="*/ 427678 h 1412232"/>
              <a:gd name="connsiteX3" fmla="*/ 1183159 w 1412232"/>
              <a:gd name="connsiteY3" fmla="*/ 576720 h 1412232"/>
              <a:gd name="connsiteX4" fmla="*/ 1183159 w 1412232"/>
              <a:gd name="connsiteY4" fmla="*/ 835513 h 1412232"/>
              <a:gd name="connsiteX5" fmla="*/ 1341716 w 1412232"/>
              <a:gd name="connsiteY5" fmla="*/ 984554 h 1412232"/>
              <a:gd name="connsiteX6" fmla="*/ 1265050 w 1412232"/>
              <a:gd name="connsiteY6" fmla="*/ 1117343 h 1412232"/>
              <a:gd name="connsiteX7" fmla="*/ 1056698 w 1412232"/>
              <a:gd name="connsiteY7" fmla="*/ 1054550 h 1412232"/>
              <a:gd name="connsiteX8" fmla="*/ 832577 w 1412232"/>
              <a:gd name="connsiteY8" fmla="*/ 1183946 h 1412232"/>
              <a:gd name="connsiteX9" fmla="*/ 782782 w 1412232"/>
              <a:gd name="connsiteY9" fmla="*/ 1395781 h 1412232"/>
              <a:gd name="connsiteX10" fmla="*/ 629450 w 1412232"/>
              <a:gd name="connsiteY10" fmla="*/ 1395781 h 1412232"/>
              <a:gd name="connsiteX11" fmla="*/ 579655 w 1412232"/>
              <a:gd name="connsiteY11" fmla="*/ 1183946 h 1412232"/>
              <a:gd name="connsiteX12" fmla="*/ 355534 w 1412232"/>
              <a:gd name="connsiteY12" fmla="*/ 1054550 h 1412232"/>
              <a:gd name="connsiteX13" fmla="*/ 147182 w 1412232"/>
              <a:gd name="connsiteY13" fmla="*/ 1117343 h 1412232"/>
              <a:gd name="connsiteX14" fmla="*/ 70516 w 1412232"/>
              <a:gd name="connsiteY14" fmla="*/ 984554 h 1412232"/>
              <a:gd name="connsiteX15" fmla="*/ 229073 w 1412232"/>
              <a:gd name="connsiteY15" fmla="*/ 835512 h 1412232"/>
              <a:gd name="connsiteX16" fmla="*/ 229073 w 1412232"/>
              <a:gd name="connsiteY16" fmla="*/ 576719 h 1412232"/>
              <a:gd name="connsiteX17" fmla="*/ 70516 w 1412232"/>
              <a:gd name="connsiteY17" fmla="*/ 427678 h 1412232"/>
              <a:gd name="connsiteX18" fmla="*/ 147182 w 1412232"/>
              <a:gd name="connsiteY18" fmla="*/ 294889 h 1412232"/>
              <a:gd name="connsiteX19" fmla="*/ 355534 w 1412232"/>
              <a:gd name="connsiteY19" fmla="*/ 357682 h 1412232"/>
              <a:gd name="connsiteX20" fmla="*/ 579655 w 1412232"/>
              <a:gd name="connsiteY20" fmla="*/ 228286 h 1412232"/>
              <a:gd name="connsiteX21" fmla="*/ 629450 w 1412232"/>
              <a:gd name="connsiteY21" fmla="*/ 16451 h 1412232"/>
              <a:gd name="connsiteX22" fmla="*/ 782782 w 1412232"/>
              <a:gd name="connsiteY22" fmla="*/ 16451 h 1412232"/>
              <a:gd name="connsiteX23" fmla="*/ 832577 w 1412232"/>
              <a:gd name="connsiteY23" fmla="*/ 228286 h 1412232"/>
              <a:gd name="connsiteX24" fmla="*/ 1056698 w 1412232"/>
              <a:gd name="connsiteY24" fmla="*/ 357682 h 1412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12232" h="1412232">
                <a:moveTo>
                  <a:pt x="908979" y="357228"/>
                </a:moveTo>
                <a:lnTo>
                  <a:pt x="1060031" y="263675"/>
                </a:lnTo>
                <a:lnTo>
                  <a:pt x="1148557" y="352201"/>
                </a:lnTo>
                <a:lnTo>
                  <a:pt x="1055003" y="503254"/>
                </a:lnTo>
                <a:cubicBezTo>
                  <a:pt x="1091036" y="565223"/>
                  <a:pt x="1109913" y="635672"/>
                  <a:pt x="1109693" y="707357"/>
                </a:cubicBezTo>
                <a:lnTo>
                  <a:pt x="1266239" y="791395"/>
                </a:lnTo>
                <a:lnTo>
                  <a:pt x="1233836" y="912324"/>
                </a:lnTo>
                <a:lnTo>
                  <a:pt x="1056244" y="906831"/>
                </a:lnTo>
                <a:cubicBezTo>
                  <a:pt x="1020593" y="969021"/>
                  <a:pt x="969020" y="1020593"/>
                  <a:pt x="906830" y="1056244"/>
                </a:cubicBezTo>
                <a:lnTo>
                  <a:pt x="912324" y="1233836"/>
                </a:lnTo>
                <a:lnTo>
                  <a:pt x="791395" y="1266239"/>
                </a:lnTo>
                <a:lnTo>
                  <a:pt x="707357" y="1109693"/>
                </a:lnTo>
                <a:cubicBezTo>
                  <a:pt x="635673" y="1109914"/>
                  <a:pt x="565223" y="1091037"/>
                  <a:pt x="503253" y="1055004"/>
                </a:cubicBezTo>
                <a:lnTo>
                  <a:pt x="352201" y="1148557"/>
                </a:lnTo>
                <a:lnTo>
                  <a:pt x="263675" y="1060031"/>
                </a:lnTo>
                <a:lnTo>
                  <a:pt x="357229" y="908978"/>
                </a:lnTo>
                <a:cubicBezTo>
                  <a:pt x="321196" y="847009"/>
                  <a:pt x="302319" y="776560"/>
                  <a:pt x="302539" y="704875"/>
                </a:cubicBezTo>
                <a:lnTo>
                  <a:pt x="145993" y="620837"/>
                </a:lnTo>
                <a:lnTo>
                  <a:pt x="178396" y="499908"/>
                </a:lnTo>
                <a:lnTo>
                  <a:pt x="355988" y="505401"/>
                </a:lnTo>
                <a:cubicBezTo>
                  <a:pt x="391639" y="443211"/>
                  <a:pt x="443212" y="391639"/>
                  <a:pt x="505402" y="355988"/>
                </a:cubicBezTo>
                <a:lnTo>
                  <a:pt x="499908" y="178396"/>
                </a:lnTo>
                <a:lnTo>
                  <a:pt x="620837" y="145993"/>
                </a:lnTo>
                <a:lnTo>
                  <a:pt x="704875" y="302539"/>
                </a:lnTo>
                <a:cubicBezTo>
                  <a:pt x="776559" y="302318"/>
                  <a:pt x="847009" y="321195"/>
                  <a:pt x="908979" y="357228"/>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760" tIns="488760" rIns="488760" bIns="488760" numCol="1" spcCol="1270" anchor="ctr" anchorCtr="0">
            <a:noAutofit/>
          </a:bodyPr>
          <a:lstStyle/>
          <a:p>
            <a:pPr lvl="0" algn="ctr" defTabSz="711200">
              <a:lnSpc>
                <a:spcPct val="90000"/>
              </a:lnSpc>
              <a:spcBef>
                <a:spcPct val="0"/>
              </a:spcBef>
              <a:spcAft>
                <a:spcPct val="35000"/>
              </a:spcAft>
            </a:pPr>
            <a:r>
              <a:rPr lang="en-US" sz="1400" kern="1200" dirty="0">
                <a:solidFill>
                  <a:schemeClr val="bg1"/>
                </a:solidFill>
              </a:rPr>
              <a:t>Enter Text Here</a:t>
            </a:r>
          </a:p>
        </p:txBody>
      </p:sp>
      <p:sp>
        <p:nvSpPr>
          <p:cNvPr id="12" name="Circular Arrow 9">
            <a:extLst>
              <a:ext uri="{FF2B5EF4-FFF2-40B4-BE49-F238E27FC236}">
                <a16:creationId xmlns:a16="http://schemas.microsoft.com/office/drawing/2014/main" id="{E2E8675C-D049-9741-9764-CCCD093F6718}"/>
              </a:ext>
            </a:extLst>
          </p:cNvPr>
          <p:cNvSpPr/>
          <p:nvPr/>
        </p:nvSpPr>
        <p:spPr>
          <a:xfrm>
            <a:off x="8002159" y="3053375"/>
            <a:ext cx="3305767" cy="3305767"/>
          </a:xfrm>
          <a:prstGeom prst="circularArrow">
            <a:avLst>
              <a:gd name="adj1" fmla="val 4688"/>
              <a:gd name="adj2" fmla="val 299029"/>
              <a:gd name="adj3" fmla="val 2500340"/>
              <a:gd name="adj4" fmla="val 15895800"/>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3" name="Shape 12">
            <a:extLst>
              <a:ext uri="{FF2B5EF4-FFF2-40B4-BE49-F238E27FC236}">
                <a16:creationId xmlns:a16="http://schemas.microsoft.com/office/drawing/2014/main" id="{FE435AA0-68C0-FF5B-93A0-B194C743EA9A}"/>
              </a:ext>
            </a:extLst>
          </p:cNvPr>
          <p:cNvSpPr/>
          <p:nvPr/>
        </p:nvSpPr>
        <p:spPr>
          <a:xfrm>
            <a:off x="6373797" y="2415658"/>
            <a:ext cx="2401846" cy="2401846"/>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4" name="Circular Arrow 11">
            <a:extLst>
              <a:ext uri="{FF2B5EF4-FFF2-40B4-BE49-F238E27FC236}">
                <a16:creationId xmlns:a16="http://schemas.microsoft.com/office/drawing/2014/main" id="{59C630E5-DD4E-A7CD-F6F9-83CB3850AEA5}"/>
              </a:ext>
            </a:extLst>
          </p:cNvPr>
          <p:cNvSpPr/>
          <p:nvPr/>
        </p:nvSpPr>
        <p:spPr>
          <a:xfrm>
            <a:off x="7332775" y="1132329"/>
            <a:ext cx="2589673" cy="2589673"/>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6" name="TextBox 15">
            <a:extLst>
              <a:ext uri="{FF2B5EF4-FFF2-40B4-BE49-F238E27FC236}">
                <a16:creationId xmlns:a16="http://schemas.microsoft.com/office/drawing/2014/main" id="{55BC954A-41AD-B618-0EDF-D76AC5E0AA04}"/>
              </a:ext>
            </a:extLst>
          </p:cNvPr>
          <p:cNvSpPr txBox="1">
            <a:spLocks/>
          </p:cNvSpPr>
          <p:nvPr/>
        </p:nvSpPr>
        <p:spPr>
          <a:xfrm>
            <a:off x="6095996" y="4048824"/>
            <a:ext cx="1643491" cy="986094"/>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200" dirty="0">
                <a:solidFill>
                  <a:schemeClr val="bg2"/>
                </a:solidFill>
              </a:rPr>
              <a:t>Etiam vitae quam quis leo pulvinar lacinia at quis</a:t>
            </a:r>
          </a:p>
        </p:txBody>
      </p:sp>
      <p:sp>
        <p:nvSpPr>
          <p:cNvPr id="17" name="TextBox 16">
            <a:extLst>
              <a:ext uri="{FF2B5EF4-FFF2-40B4-BE49-F238E27FC236}">
                <a16:creationId xmlns:a16="http://schemas.microsoft.com/office/drawing/2014/main" id="{54CF1F50-BE00-B66B-FF0E-192CCBFBD25B}"/>
              </a:ext>
            </a:extLst>
          </p:cNvPr>
          <p:cNvSpPr txBox="1">
            <a:spLocks/>
          </p:cNvSpPr>
          <p:nvPr/>
        </p:nvSpPr>
        <p:spPr>
          <a:xfrm>
            <a:off x="9148196" y="1935763"/>
            <a:ext cx="1643491" cy="986094"/>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200" dirty="0">
                <a:solidFill>
                  <a:schemeClr val="bg2"/>
                </a:solidFill>
              </a:rPr>
              <a:t>Etiam vitae quam quis leo pulvinar lacinia at quis</a:t>
            </a:r>
          </a:p>
        </p:txBody>
      </p:sp>
      <p:sp>
        <p:nvSpPr>
          <p:cNvPr id="18" name="TextBox 17">
            <a:extLst>
              <a:ext uri="{FF2B5EF4-FFF2-40B4-BE49-F238E27FC236}">
                <a16:creationId xmlns:a16="http://schemas.microsoft.com/office/drawing/2014/main" id="{45413955-1D85-24FB-295B-DDEBD5F58B13}"/>
              </a:ext>
            </a:extLst>
          </p:cNvPr>
          <p:cNvSpPr txBox="1">
            <a:spLocks/>
          </p:cNvSpPr>
          <p:nvPr/>
        </p:nvSpPr>
        <p:spPr>
          <a:xfrm>
            <a:off x="7880359" y="5034920"/>
            <a:ext cx="1643491" cy="986094"/>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200" dirty="0">
                <a:solidFill>
                  <a:schemeClr val="bg2"/>
                </a:solidFill>
              </a:rPr>
              <a:t>Etiam vitae quam quis leo pulvinar lacinia at quis</a:t>
            </a:r>
          </a:p>
        </p:txBody>
      </p:sp>
      <p:grpSp>
        <p:nvGrpSpPr>
          <p:cNvPr id="24" name="Group 23">
            <a:extLst>
              <a:ext uri="{FF2B5EF4-FFF2-40B4-BE49-F238E27FC236}">
                <a16:creationId xmlns:a16="http://schemas.microsoft.com/office/drawing/2014/main" id="{E5973FC2-3460-876A-5015-E72061E244C4}"/>
              </a:ext>
            </a:extLst>
          </p:cNvPr>
          <p:cNvGrpSpPr/>
          <p:nvPr/>
        </p:nvGrpSpPr>
        <p:grpSpPr>
          <a:xfrm>
            <a:off x="740979" y="2114029"/>
            <a:ext cx="4763580" cy="912995"/>
            <a:chOff x="740978" y="2334897"/>
            <a:chExt cx="4971651" cy="912995"/>
          </a:xfrm>
        </p:grpSpPr>
        <p:sp>
          <p:nvSpPr>
            <p:cNvPr id="21" name="TextBox 20">
              <a:extLst>
                <a:ext uri="{FF2B5EF4-FFF2-40B4-BE49-F238E27FC236}">
                  <a16:creationId xmlns:a16="http://schemas.microsoft.com/office/drawing/2014/main" id="{2BEABB6D-13BF-4444-AE04-A6F408681AEB}"/>
                </a:ext>
              </a:extLst>
            </p:cNvPr>
            <p:cNvSpPr txBox="1">
              <a:spLocks/>
            </p:cNvSpPr>
            <p:nvPr/>
          </p:nvSpPr>
          <p:spPr>
            <a:xfrm>
              <a:off x="740978" y="2334897"/>
              <a:ext cx="4487600" cy="493047"/>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400" dirty="0">
                  <a:solidFill>
                    <a:schemeClr val="bg2"/>
                  </a:solidFill>
                </a:rPr>
                <a:t>Etiam vitae quam quis leo pulvinar lacinia at quis.</a:t>
              </a:r>
            </a:p>
          </p:txBody>
        </p:sp>
        <p:sp>
          <p:nvSpPr>
            <p:cNvPr id="23" name="TextBox 22">
              <a:extLst>
                <a:ext uri="{FF2B5EF4-FFF2-40B4-BE49-F238E27FC236}">
                  <a16:creationId xmlns:a16="http://schemas.microsoft.com/office/drawing/2014/main" id="{B46F0FB7-0A7A-3BAA-863F-17A829F28EE5}"/>
                </a:ext>
              </a:extLst>
            </p:cNvPr>
            <p:cNvSpPr txBox="1">
              <a:spLocks/>
            </p:cNvSpPr>
            <p:nvPr/>
          </p:nvSpPr>
          <p:spPr>
            <a:xfrm>
              <a:off x="4067198" y="2754845"/>
              <a:ext cx="1645431" cy="493047"/>
            </a:xfrm>
            <a:prstGeom prst="roundRect">
              <a:avLst/>
            </a:prstGeom>
            <a:solidFill>
              <a:schemeClr val="accent1">
                <a:alpha val="90000"/>
              </a:schemeClr>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400" b="1" dirty="0">
                  <a:solidFill>
                    <a:schemeClr val="bg1"/>
                  </a:solidFill>
                </a:rPr>
                <a:t>Etiam Vitae Lorem</a:t>
              </a:r>
            </a:p>
          </p:txBody>
        </p:sp>
      </p:grpSp>
      <p:grpSp>
        <p:nvGrpSpPr>
          <p:cNvPr id="37" name="Group 36">
            <a:extLst>
              <a:ext uri="{FF2B5EF4-FFF2-40B4-BE49-F238E27FC236}">
                <a16:creationId xmlns:a16="http://schemas.microsoft.com/office/drawing/2014/main" id="{E4497128-2991-C619-D4AC-A25ADF43D428}"/>
              </a:ext>
            </a:extLst>
          </p:cNvPr>
          <p:cNvGrpSpPr/>
          <p:nvPr/>
        </p:nvGrpSpPr>
        <p:grpSpPr>
          <a:xfrm>
            <a:off x="740979" y="3497313"/>
            <a:ext cx="4763580" cy="912995"/>
            <a:chOff x="740978" y="2334897"/>
            <a:chExt cx="4971651" cy="912995"/>
          </a:xfrm>
        </p:grpSpPr>
        <p:sp>
          <p:nvSpPr>
            <p:cNvPr id="38" name="TextBox 37">
              <a:extLst>
                <a:ext uri="{FF2B5EF4-FFF2-40B4-BE49-F238E27FC236}">
                  <a16:creationId xmlns:a16="http://schemas.microsoft.com/office/drawing/2014/main" id="{AC03A4F9-2F5A-EDA8-8AE5-F1CF7BB6B488}"/>
                </a:ext>
              </a:extLst>
            </p:cNvPr>
            <p:cNvSpPr txBox="1">
              <a:spLocks/>
            </p:cNvSpPr>
            <p:nvPr/>
          </p:nvSpPr>
          <p:spPr>
            <a:xfrm>
              <a:off x="740978" y="2334897"/>
              <a:ext cx="4487600" cy="493047"/>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400" dirty="0">
                  <a:solidFill>
                    <a:schemeClr val="bg2"/>
                  </a:solidFill>
                </a:rPr>
                <a:t>Etiam vitae quam quis leo pulvinar lacinia at quis.</a:t>
              </a:r>
            </a:p>
          </p:txBody>
        </p:sp>
        <p:sp>
          <p:nvSpPr>
            <p:cNvPr id="39" name="TextBox 38">
              <a:extLst>
                <a:ext uri="{FF2B5EF4-FFF2-40B4-BE49-F238E27FC236}">
                  <a16:creationId xmlns:a16="http://schemas.microsoft.com/office/drawing/2014/main" id="{76A83E7D-C24B-DCA8-6EE7-A77B1C333CDC}"/>
                </a:ext>
              </a:extLst>
            </p:cNvPr>
            <p:cNvSpPr txBox="1">
              <a:spLocks/>
            </p:cNvSpPr>
            <p:nvPr/>
          </p:nvSpPr>
          <p:spPr>
            <a:xfrm>
              <a:off x="4067198" y="2754845"/>
              <a:ext cx="1645431" cy="493047"/>
            </a:xfrm>
            <a:prstGeom prst="roundRect">
              <a:avLst/>
            </a:prstGeom>
            <a:solidFill>
              <a:schemeClr val="accent1">
                <a:alpha val="90000"/>
              </a:schemeClr>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400" b="1" dirty="0">
                  <a:solidFill>
                    <a:schemeClr val="bg1"/>
                  </a:solidFill>
                </a:rPr>
                <a:t>Etiam Vitae Lorem</a:t>
              </a:r>
            </a:p>
          </p:txBody>
        </p:sp>
      </p:grpSp>
      <p:grpSp>
        <p:nvGrpSpPr>
          <p:cNvPr id="40" name="Group 39">
            <a:extLst>
              <a:ext uri="{FF2B5EF4-FFF2-40B4-BE49-F238E27FC236}">
                <a16:creationId xmlns:a16="http://schemas.microsoft.com/office/drawing/2014/main" id="{B39129D3-4E17-B3B9-4F80-14C35F451B03}"/>
              </a:ext>
            </a:extLst>
          </p:cNvPr>
          <p:cNvGrpSpPr/>
          <p:nvPr/>
        </p:nvGrpSpPr>
        <p:grpSpPr>
          <a:xfrm>
            <a:off x="740979" y="4880597"/>
            <a:ext cx="4763580" cy="912995"/>
            <a:chOff x="740978" y="2334897"/>
            <a:chExt cx="4971651" cy="912995"/>
          </a:xfrm>
        </p:grpSpPr>
        <p:sp>
          <p:nvSpPr>
            <p:cNvPr id="41" name="TextBox 40">
              <a:extLst>
                <a:ext uri="{FF2B5EF4-FFF2-40B4-BE49-F238E27FC236}">
                  <a16:creationId xmlns:a16="http://schemas.microsoft.com/office/drawing/2014/main" id="{28CE14C9-5720-11B0-2432-F9730F3EA83C}"/>
                </a:ext>
              </a:extLst>
            </p:cNvPr>
            <p:cNvSpPr txBox="1">
              <a:spLocks/>
            </p:cNvSpPr>
            <p:nvPr/>
          </p:nvSpPr>
          <p:spPr>
            <a:xfrm>
              <a:off x="740978" y="2334897"/>
              <a:ext cx="4487600" cy="493047"/>
            </a:xfrm>
            <a:prstGeom prst="round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400" dirty="0">
                  <a:solidFill>
                    <a:schemeClr val="bg2"/>
                  </a:solidFill>
                </a:rPr>
                <a:t>Etiam vitae quam quis leo pulvinar lacinia at quis.</a:t>
              </a:r>
            </a:p>
          </p:txBody>
        </p:sp>
        <p:sp>
          <p:nvSpPr>
            <p:cNvPr id="42" name="TextBox 41">
              <a:extLst>
                <a:ext uri="{FF2B5EF4-FFF2-40B4-BE49-F238E27FC236}">
                  <a16:creationId xmlns:a16="http://schemas.microsoft.com/office/drawing/2014/main" id="{5EDBB50D-A804-2712-AA96-566F0F6A4BC9}"/>
                </a:ext>
              </a:extLst>
            </p:cNvPr>
            <p:cNvSpPr txBox="1">
              <a:spLocks/>
            </p:cNvSpPr>
            <p:nvPr/>
          </p:nvSpPr>
          <p:spPr>
            <a:xfrm>
              <a:off x="4067198" y="2754845"/>
              <a:ext cx="1645431" cy="493047"/>
            </a:xfrm>
            <a:prstGeom prst="roundRect">
              <a:avLst/>
            </a:prstGeom>
            <a:solidFill>
              <a:schemeClr val="accent1">
                <a:alpha val="90000"/>
              </a:schemeClr>
            </a:solid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23" tIns="83123" rIns="83123" bIns="83123" numCol="1" spcCol="1270" anchor="ctr" anchorCtr="0">
              <a:noAutofit/>
            </a:bodyPr>
            <a:lstStyle>
              <a:defPPr>
                <a:defRPr lang="en-US"/>
              </a:defPPr>
              <a:lvl1pPr>
                <a:defRPr>
                  <a:solidFill>
                    <a:schemeClr val="dk1">
                      <a:hueOff val="0"/>
                      <a:satOff val="0"/>
                      <a:lumOff val="0"/>
                      <a:alphaOff val="0"/>
                    </a:schemeClr>
                  </a:solidFill>
                </a:defRPr>
              </a:lvl1pPr>
              <a:lvl2pPr marL="114300" lvl="1" indent="-114300" defTabSz="533400">
                <a:lnSpc>
                  <a:spcPct val="90000"/>
                </a:lnSpc>
                <a:spcBef>
                  <a:spcPct val="0"/>
                </a:spcBef>
                <a:spcAft>
                  <a:spcPct val="15000"/>
                </a:spcAft>
                <a:buChar char="••"/>
                <a:defRPr sz="1200">
                  <a:solidFill>
                    <a:schemeClr val="bg2"/>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r>
                <a:rPr lang="en-US" sz="1400" b="1" dirty="0">
                  <a:solidFill>
                    <a:schemeClr val="bg1"/>
                  </a:solidFill>
                </a:rPr>
                <a:t>Etiam Vitae Lorem</a:t>
              </a:r>
            </a:p>
          </p:txBody>
        </p:sp>
      </p:grpSp>
    </p:spTree>
    <p:custDataLst>
      <p:tags r:id="rId1"/>
    </p:custDataLst>
    <p:extLst>
      <p:ext uri="{BB962C8B-B14F-4D97-AF65-F5344CB8AC3E}">
        <p14:creationId xmlns:p14="http://schemas.microsoft.com/office/powerpoint/2010/main" val="1940623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9" name="Rectangle 38">
            <a:extLst>
              <a:ext uri="{FF2B5EF4-FFF2-40B4-BE49-F238E27FC236}">
                <a16:creationId xmlns:a16="http://schemas.microsoft.com/office/drawing/2014/main" id="{3BE1C3BE-AFE7-E381-92FD-D2F0E9B83668}"/>
              </a:ext>
            </a:extLst>
          </p:cNvPr>
          <p:cNvSpPr/>
          <p:nvPr/>
        </p:nvSpPr>
        <p:spPr>
          <a:xfrm>
            <a:off x="797847" y="2060941"/>
            <a:ext cx="3373654" cy="416568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Nullam sed nisi fringilla, faucibus risus quis. Etiam vitae quam quis leo pulvinar lacinia at quis odio. Nullam sed nisi fringilla, faucibus risus quis. </a:t>
            </a:r>
          </a:p>
          <a:p>
            <a:pPr algn="ctr">
              <a:defRPr/>
            </a:pPr>
            <a:endParaRPr lang="en-US" sz="1400" dirty="0">
              <a:solidFill>
                <a:srgbClr val="000000"/>
              </a:solidFill>
              <a:latin typeface="Calibri" panose="020F0502020204030204" pitchFamily="34" charset="0"/>
            </a:endParaRPr>
          </a:p>
          <a:p>
            <a:pPr algn="ct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Nullam sed nisi fringilla, faucibus risus quis.</a:t>
            </a:r>
          </a:p>
          <a:p>
            <a:pPr algn="ct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9" name="Group 8">
            <a:extLst>
              <a:ext uri="{FF2B5EF4-FFF2-40B4-BE49-F238E27FC236}">
                <a16:creationId xmlns:a16="http://schemas.microsoft.com/office/drawing/2014/main" id="{7E46763A-E557-BB0C-DEB0-82019FDFCB4E}"/>
              </a:ext>
            </a:extLst>
          </p:cNvPr>
          <p:cNvGrpSpPr/>
          <p:nvPr>
            <p:custDataLst>
              <p:tags r:id="rId2"/>
            </p:custDataLst>
          </p:nvPr>
        </p:nvGrpSpPr>
        <p:grpSpPr>
          <a:xfrm>
            <a:off x="2027094" y="1603360"/>
            <a:ext cx="915160" cy="915161"/>
            <a:chOff x="5500688" y="2833688"/>
            <a:chExt cx="1190625" cy="1190625"/>
          </a:xfrm>
        </p:grpSpPr>
        <p:sp>
          <p:nvSpPr>
            <p:cNvPr id="8" name="Oval 7">
              <a:extLst>
                <a:ext uri="{FF2B5EF4-FFF2-40B4-BE49-F238E27FC236}">
                  <a16:creationId xmlns:a16="http://schemas.microsoft.com/office/drawing/2014/main" id="{C2F35946-0C29-0B0C-A3A2-86DAA683D1D2}"/>
                </a:ext>
              </a:extLst>
            </p:cNvPr>
            <p:cNvSpPr/>
            <p:nvPr/>
          </p:nvSpPr>
          <p:spPr>
            <a:xfrm>
              <a:off x="5500688" y="2833688"/>
              <a:ext cx="1190625" cy="1190625"/>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AEE72009-798A-0B4A-9303-3B6118EFB872}"/>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38813" y="3071813"/>
              <a:ext cx="714375" cy="714375"/>
            </a:xfrm>
            <a:prstGeom prst="rect">
              <a:avLst/>
            </a:prstGeom>
          </p:spPr>
        </p:pic>
      </p:grpSp>
      <p:sp>
        <p:nvSpPr>
          <p:cNvPr id="21" name="TextBox 20">
            <a:extLst>
              <a:ext uri="{FF2B5EF4-FFF2-40B4-BE49-F238E27FC236}">
                <a16:creationId xmlns:a16="http://schemas.microsoft.com/office/drawing/2014/main" id="{37E8DEAD-A354-0571-A067-1058EF7DDFA4}"/>
              </a:ext>
            </a:extLst>
          </p:cNvPr>
          <p:cNvSpPr txBox="1"/>
          <p:nvPr/>
        </p:nvSpPr>
        <p:spPr>
          <a:xfrm>
            <a:off x="4691743" y="2060940"/>
            <a:ext cx="6063782" cy="369332"/>
          </a:xfrm>
          <a:prstGeom prst="rect">
            <a:avLst/>
          </a:prstGeom>
          <a:noFill/>
        </p:spPr>
        <p:txBody>
          <a:bodyPr vert="horz"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endPar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3" name="TextBox 22">
            <a:extLst>
              <a:ext uri="{FF2B5EF4-FFF2-40B4-BE49-F238E27FC236}">
                <a16:creationId xmlns:a16="http://schemas.microsoft.com/office/drawing/2014/main" id="{F9133EFE-560E-03DA-2843-AAB1E57AC375}"/>
              </a:ext>
            </a:extLst>
          </p:cNvPr>
          <p:cNvSpPr txBox="1"/>
          <p:nvPr/>
        </p:nvSpPr>
        <p:spPr>
          <a:xfrm>
            <a:off x="4691742" y="4749300"/>
            <a:ext cx="6945517" cy="1477328"/>
          </a:xfrm>
          <a:prstGeom prst="rect">
            <a:avLst/>
          </a:prstGeom>
          <a:noFill/>
        </p:spPr>
        <p:txBody>
          <a:bodyPr vert="horz" wrap="square" rtlCol="0">
            <a:spAutoFit/>
          </a:bodyPr>
          <a:lstStyle/>
          <a:p>
            <a:pPr>
              <a:defRPr/>
            </a:pP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a:defRPr/>
            </a:pPr>
            <a:endParaRPr lang="en-US" dirty="0">
              <a:solidFill>
                <a:srgbClr val="000000"/>
              </a:solidFill>
              <a:latin typeface="Calibri" panose="020F0502020204030204" pitchFamily="34" charset="0"/>
            </a:endParaRPr>
          </a:p>
          <a:p>
            <a:pPr>
              <a:defRPr/>
            </a:pP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a:t>
            </a:r>
          </a:p>
          <a:p>
            <a:pPr>
              <a:defRPr/>
            </a:pPr>
            <a:endPar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4" name="TextBox 23">
            <a:extLst>
              <a:ext uri="{FF2B5EF4-FFF2-40B4-BE49-F238E27FC236}">
                <a16:creationId xmlns:a16="http://schemas.microsoft.com/office/drawing/2014/main" id="{8527AD6E-56A3-FC98-D050-424B84A40349}"/>
              </a:ext>
            </a:extLst>
          </p:cNvPr>
          <p:cNvSpPr txBox="1"/>
          <p:nvPr/>
        </p:nvSpPr>
        <p:spPr>
          <a:xfrm>
            <a:off x="4691742" y="2620772"/>
            <a:ext cx="6945517" cy="1754326"/>
          </a:xfrm>
          <a:prstGeom prst="rect">
            <a:avLst/>
          </a:prstGeom>
          <a:noFill/>
        </p:spPr>
        <p:txBody>
          <a:bodyPr vert="horz" wrap="square" rtlCol="0">
            <a:spAutoFit/>
          </a:bodyPr>
          <a:lstStyle/>
          <a:p>
            <a:pPr>
              <a:defRPr/>
            </a:pP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a:defRPr/>
            </a:pPr>
            <a:endParaRPr lang="en-US" dirty="0">
              <a:solidFill>
                <a:srgbClr val="000000"/>
              </a:solidFill>
              <a:latin typeface="Calibri" panose="020F0502020204030204" pitchFamily="34" charset="0"/>
            </a:endParaRPr>
          </a:p>
          <a:p>
            <a:pPr>
              <a:defRPr/>
            </a:pPr>
            <a:r>
              <a:rPr kumimoji="0" lang="en-US"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p:txBody>
      </p:sp>
    </p:spTree>
    <p:custDataLst>
      <p:tags r:id="rId1"/>
    </p:custDataLst>
    <p:extLst>
      <p:ext uri="{BB962C8B-B14F-4D97-AF65-F5344CB8AC3E}">
        <p14:creationId xmlns:p14="http://schemas.microsoft.com/office/powerpoint/2010/main" val="3665918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pic>
        <p:nvPicPr>
          <p:cNvPr id="3" name="Picture 2" descr="Shape&#10;&#10;Description automatically generated">
            <a:extLst>
              <a:ext uri="{FF2B5EF4-FFF2-40B4-BE49-F238E27FC236}">
                <a16:creationId xmlns:a16="http://schemas.microsoft.com/office/drawing/2014/main" id="{C6D1B681-29E9-E9D7-2B2B-3C92583F8C96}"/>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011544" y="1666153"/>
            <a:ext cx="2011011" cy="201101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18" name="Rectangle: Rounded Corners 17">
            <a:extLst>
              <a:ext uri="{FF2B5EF4-FFF2-40B4-BE49-F238E27FC236}">
                <a16:creationId xmlns:a16="http://schemas.microsoft.com/office/drawing/2014/main" id="{97D0B5FD-D185-1B78-028F-402CAE55AAAC}"/>
              </a:ext>
            </a:extLst>
          </p:cNvPr>
          <p:cNvSpPr/>
          <p:nvPr/>
        </p:nvSpPr>
        <p:spPr>
          <a:xfrm>
            <a:off x="554732" y="3802743"/>
            <a:ext cx="2924635" cy="2322286"/>
          </a:xfrm>
          <a:prstGeom prst="roundRect">
            <a:avLst>
              <a:gd name="adj" fmla="val 19221"/>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B17EA937-DC0B-AA66-11BC-FBB79049D292}"/>
              </a:ext>
            </a:extLst>
          </p:cNvPr>
          <p:cNvSpPr txBox="1"/>
          <p:nvPr/>
        </p:nvSpPr>
        <p:spPr>
          <a:xfrm>
            <a:off x="648937" y="4171950"/>
            <a:ext cx="2736226" cy="1583874"/>
          </a:xfrm>
          <a:prstGeom prst="rect">
            <a:avLst/>
          </a:prstGeom>
          <a:noFill/>
        </p:spPr>
        <p:txBody>
          <a:bodyPr wrap="square" anchor="ctr">
            <a:noAutofit/>
          </a:bodyPr>
          <a:lstStyle/>
          <a:p>
            <a:pPr algn="ct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pic>
        <p:nvPicPr>
          <p:cNvPr id="7" name="Picture 6" descr="Shape&#10;&#10;Description automatically generated">
            <a:extLst>
              <a:ext uri="{FF2B5EF4-FFF2-40B4-BE49-F238E27FC236}">
                <a16:creationId xmlns:a16="http://schemas.microsoft.com/office/drawing/2014/main" id="{C4393122-0840-8460-A8C3-5D44A4F968B4}"/>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213456" y="1666153"/>
            <a:ext cx="2011011" cy="2011013"/>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11" name="Rectangle: Rounded Corners 10">
            <a:extLst>
              <a:ext uri="{FF2B5EF4-FFF2-40B4-BE49-F238E27FC236}">
                <a16:creationId xmlns:a16="http://schemas.microsoft.com/office/drawing/2014/main" id="{A226739D-AB58-97DF-EDEA-3A4C3F194335}"/>
              </a:ext>
            </a:extLst>
          </p:cNvPr>
          <p:cNvSpPr/>
          <p:nvPr/>
        </p:nvSpPr>
        <p:spPr>
          <a:xfrm>
            <a:off x="3756644" y="3802743"/>
            <a:ext cx="2924635" cy="2322286"/>
          </a:xfrm>
          <a:prstGeom prst="roundRect">
            <a:avLst>
              <a:gd name="adj" fmla="val 19221"/>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1C28500-C98D-3D0C-127D-48BEC73E58B0}"/>
              </a:ext>
            </a:extLst>
          </p:cNvPr>
          <p:cNvSpPr txBox="1"/>
          <p:nvPr/>
        </p:nvSpPr>
        <p:spPr>
          <a:xfrm>
            <a:off x="3850849" y="4171950"/>
            <a:ext cx="2736226" cy="1583874"/>
          </a:xfrm>
          <a:prstGeom prst="rect">
            <a:avLst/>
          </a:prstGeom>
          <a:noFill/>
        </p:spPr>
        <p:txBody>
          <a:bodyPr wrap="square" anchor="ctr">
            <a:noAutofit/>
          </a:bodyPr>
          <a:lstStyle/>
          <a:p>
            <a:pPr algn="ct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pic>
        <p:nvPicPr>
          <p:cNvPr id="14" name="Picture 13" descr="Shape&#10;&#10;Description automatically generated">
            <a:extLst>
              <a:ext uri="{FF2B5EF4-FFF2-40B4-BE49-F238E27FC236}">
                <a16:creationId xmlns:a16="http://schemas.microsoft.com/office/drawing/2014/main" id="{DAF90B76-E98D-BE7B-130D-478B28E3242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958557" y="1666153"/>
            <a:ext cx="4584506" cy="4457381"/>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Tree>
    <p:custDataLst>
      <p:tags r:id="rId1"/>
    </p:custDataLst>
    <p:extLst>
      <p:ext uri="{BB962C8B-B14F-4D97-AF65-F5344CB8AC3E}">
        <p14:creationId xmlns:p14="http://schemas.microsoft.com/office/powerpoint/2010/main" val="2388409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38" name="Content Placeholder 37">
            <a:extLst>
              <a:ext uri="{FF2B5EF4-FFF2-40B4-BE49-F238E27FC236}">
                <a16:creationId xmlns:a16="http://schemas.microsoft.com/office/drawing/2014/main" id="{0968A845-0357-F631-F465-6CEA7880B8E2}"/>
              </a:ext>
            </a:extLst>
          </p:cNvPr>
          <p:cNvSpPr>
            <a:spLocks noGrp="1"/>
          </p:cNvSpPr>
          <p:nvPr>
            <p:ph sz="quarter" idx="19"/>
          </p:nvPr>
        </p:nvSpPr>
        <p:spPr/>
        <p:txBody>
          <a:bodyPr/>
          <a:lstStyle/>
          <a:p>
            <a:endParaRPr lang="en-US"/>
          </a:p>
        </p:txBody>
      </p:sp>
      <p:sp>
        <p:nvSpPr>
          <p:cNvPr id="12" name="TextBox 11">
            <a:extLst>
              <a:ext uri="{FF2B5EF4-FFF2-40B4-BE49-F238E27FC236}">
                <a16:creationId xmlns:a16="http://schemas.microsoft.com/office/drawing/2014/main" id="{44BEA5B7-492A-916B-BCDC-D724477B372D}"/>
              </a:ext>
            </a:extLst>
          </p:cNvPr>
          <p:cNvSpPr txBox="1"/>
          <p:nvPr/>
        </p:nvSpPr>
        <p:spPr>
          <a:xfrm>
            <a:off x="1746274" y="1978237"/>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5" name="Oval 4">
            <a:extLst>
              <a:ext uri="{FF2B5EF4-FFF2-40B4-BE49-F238E27FC236}">
                <a16:creationId xmlns:a16="http://schemas.microsoft.com/office/drawing/2014/main" id="{C493F2D4-968D-6CA9-42DD-657F63BECACF}"/>
              </a:ext>
            </a:extLst>
          </p:cNvPr>
          <p:cNvSpPr>
            <a:spLocks/>
          </p:cNvSpPr>
          <p:nvPr/>
        </p:nvSpPr>
        <p:spPr>
          <a:xfrm>
            <a:off x="554732" y="1978237"/>
            <a:ext cx="862130" cy="862130"/>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6" name="Graphic 5">
            <a:extLst>
              <a:ext uri="{FF2B5EF4-FFF2-40B4-BE49-F238E27FC236}">
                <a16:creationId xmlns:a16="http://schemas.microsoft.com/office/drawing/2014/main" id="{B7562725-858D-8F52-0C65-7B2A8395C189}"/>
              </a:ext>
            </a:extLst>
          </p:cNvPr>
          <p:cNvPicPr>
            <a:picLocks/>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5007" y="2188512"/>
            <a:ext cx="441581" cy="441581"/>
          </a:xfrm>
          <a:prstGeom prst="rect">
            <a:avLst/>
          </a:prstGeom>
        </p:spPr>
      </p:pic>
      <p:sp>
        <p:nvSpPr>
          <p:cNvPr id="20" name="TextBox 19">
            <a:extLst>
              <a:ext uri="{FF2B5EF4-FFF2-40B4-BE49-F238E27FC236}">
                <a16:creationId xmlns:a16="http://schemas.microsoft.com/office/drawing/2014/main" id="{095EF247-1132-A5AC-C548-E795B08A331A}"/>
              </a:ext>
            </a:extLst>
          </p:cNvPr>
          <p:cNvSpPr txBox="1"/>
          <p:nvPr/>
        </p:nvSpPr>
        <p:spPr>
          <a:xfrm>
            <a:off x="554732" y="2850550"/>
            <a:ext cx="862130" cy="589072"/>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65%</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10" name="TextBox 9">
            <a:extLst>
              <a:ext uri="{FF2B5EF4-FFF2-40B4-BE49-F238E27FC236}">
                <a16:creationId xmlns:a16="http://schemas.microsoft.com/office/drawing/2014/main" id="{171DD983-5B50-0E69-4EE8-35CC86F5A5C0}"/>
              </a:ext>
            </a:extLst>
          </p:cNvPr>
          <p:cNvSpPr txBox="1">
            <a:spLocks/>
          </p:cNvSpPr>
          <p:nvPr/>
        </p:nvSpPr>
        <p:spPr>
          <a:xfrm>
            <a:off x="554732" y="3920544"/>
            <a:ext cx="5380387" cy="2044086"/>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18" name="TextBox 17">
            <a:extLst>
              <a:ext uri="{FF2B5EF4-FFF2-40B4-BE49-F238E27FC236}">
                <a16:creationId xmlns:a16="http://schemas.microsoft.com/office/drawing/2014/main" id="{9106656F-344F-557C-07ED-378F1EE21179}"/>
              </a:ext>
            </a:extLst>
          </p:cNvPr>
          <p:cNvSpPr txBox="1"/>
          <p:nvPr/>
        </p:nvSpPr>
        <p:spPr>
          <a:xfrm>
            <a:off x="7448415" y="1978237"/>
            <a:ext cx="3181016" cy="1397755"/>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
        <p:nvSpPr>
          <p:cNvPr id="28" name="Oval 27">
            <a:extLst>
              <a:ext uri="{FF2B5EF4-FFF2-40B4-BE49-F238E27FC236}">
                <a16:creationId xmlns:a16="http://schemas.microsoft.com/office/drawing/2014/main" id="{C763264F-1174-5A5F-CCD1-D4845CDB257A}"/>
              </a:ext>
            </a:extLst>
          </p:cNvPr>
          <p:cNvSpPr>
            <a:spLocks/>
          </p:cNvSpPr>
          <p:nvPr/>
        </p:nvSpPr>
        <p:spPr>
          <a:xfrm>
            <a:off x="6256873" y="1978237"/>
            <a:ext cx="862130" cy="862130"/>
          </a:xfrm>
          <a:prstGeom prst="ellipse">
            <a:avLst/>
          </a:prstGeom>
          <a:solidFill>
            <a:schemeClr val="accent1">
              <a:lumMod val="40000"/>
              <a:lumOff val="60000"/>
            </a:schemeClr>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4" name="Graphic 33">
            <a:extLst>
              <a:ext uri="{FF2B5EF4-FFF2-40B4-BE49-F238E27FC236}">
                <a16:creationId xmlns:a16="http://schemas.microsoft.com/office/drawing/2014/main" id="{32071654-BC38-B378-DC58-37403F4ED1EF}"/>
              </a:ext>
            </a:extLst>
          </p:cNvPr>
          <p:cNvPicPr>
            <a:picLocks/>
          </p:cNvPicPr>
          <p:nvPr>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67148" y="2188512"/>
            <a:ext cx="441581" cy="441581"/>
          </a:xfrm>
          <a:prstGeom prst="rect">
            <a:avLst/>
          </a:prstGeom>
        </p:spPr>
      </p:pic>
      <p:sp>
        <p:nvSpPr>
          <p:cNvPr id="35" name="TextBox 34">
            <a:extLst>
              <a:ext uri="{FF2B5EF4-FFF2-40B4-BE49-F238E27FC236}">
                <a16:creationId xmlns:a16="http://schemas.microsoft.com/office/drawing/2014/main" id="{B789EFF3-1C40-25FA-1018-3D4E3366B358}"/>
              </a:ext>
            </a:extLst>
          </p:cNvPr>
          <p:cNvSpPr txBox="1"/>
          <p:nvPr/>
        </p:nvSpPr>
        <p:spPr>
          <a:xfrm>
            <a:off x="6256873" y="2850550"/>
            <a:ext cx="862130" cy="589072"/>
          </a:xfrm>
          <a:prstGeom prst="rect">
            <a:avLst/>
          </a:prstGeom>
          <a:noFill/>
          <a:ln>
            <a:noFill/>
          </a:ln>
        </p:spPr>
        <p:txBody>
          <a:bodyPr wrap="square">
            <a:spAutoFit/>
          </a:bodyPr>
          <a:lstStyle/>
          <a:p>
            <a:pPr algn="ctr">
              <a:lnSpc>
                <a:spcPct val="150000"/>
              </a:lnSpc>
            </a:pPr>
            <a:r>
              <a:rPr kumimoji="0" lang="en-US" sz="2400" b="1" i="0" u="none" strike="noStrike" kern="1200" cap="none" spc="0" normalizeH="0" baseline="0" noProof="0" dirty="0">
                <a:ln>
                  <a:noFill/>
                </a:ln>
                <a:solidFill>
                  <a:schemeClr val="bg2"/>
                </a:solidFill>
                <a:effectLst/>
                <a:uLnTx/>
                <a:uFillTx/>
                <a:latin typeface="+mj-lt"/>
                <a:ea typeface="+mn-ea"/>
                <a:cs typeface="+mn-cs"/>
              </a:rPr>
              <a:t>90%</a:t>
            </a:r>
            <a:endParaRPr kumimoji="0" lang="en-US" sz="2000" i="0" u="none" strike="noStrike" kern="1200" cap="none" spc="0" normalizeH="0" baseline="0" noProof="0" dirty="0">
              <a:ln>
                <a:noFill/>
              </a:ln>
              <a:solidFill>
                <a:schemeClr val="bg2"/>
              </a:solidFill>
              <a:effectLst/>
              <a:uLnTx/>
              <a:uFillTx/>
              <a:latin typeface="+mj-lt"/>
              <a:ea typeface="+mn-ea"/>
              <a:cs typeface="+mn-cs"/>
            </a:endParaRPr>
          </a:p>
        </p:txBody>
      </p:sp>
      <p:sp>
        <p:nvSpPr>
          <p:cNvPr id="36" name="TextBox 35">
            <a:extLst>
              <a:ext uri="{FF2B5EF4-FFF2-40B4-BE49-F238E27FC236}">
                <a16:creationId xmlns:a16="http://schemas.microsoft.com/office/drawing/2014/main" id="{5D80CBDB-B109-E160-4C47-C1D16C9838C0}"/>
              </a:ext>
            </a:extLst>
          </p:cNvPr>
          <p:cNvSpPr txBox="1"/>
          <p:nvPr/>
        </p:nvSpPr>
        <p:spPr>
          <a:xfrm>
            <a:off x="6256873" y="3920544"/>
            <a:ext cx="5380387" cy="2044086"/>
          </a:xfrm>
          <a:prstGeom prst="rect">
            <a:avLst/>
          </a:prstGeom>
          <a:noFill/>
        </p:spPr>
        <p:txBody>
          <a:bodyPr wrap="square">
            <a:spAutoFit/>
          </a:bodyPr>
          <a:lstStyle/>
          <a:p>
            <a:pPr>
              <a:lnSpc>
                <a:spcPct val="150000"/>
              </a:lnSpc>
            </a:pPr>
            <a:r>
              <a:rPr kumimoji="0" lang="en-US" sz="1600" b="1" i="0" u="none" strike="noStrike" kern="1200" cap="none" spc="0" normalizeH="0" baseline="0" noProof="0" dirty="0">
                <a:ln>
                  <a:noFill/>
                </a:ln>
                <a:solidFill>
                  <a:schemeClr val="bg2"/>
                </a:solidFill>
                <a:effectLst/>
                <a:uLnTx/>
                <a:uFillTx/>
                <a:latin typeface="+mj-lt"/>
                <a:ea typeface="+mn-ea"/>
                <a:cs typeface="+mn-cs"/>
              </a:rPr>
              <a:t>Etiam </a:t>
            </a:r>
            <a:r>
              <a:rPr lang="en-US" sz="1600" b="1" dirty="0">
                <a:solidFill>
                  <a:schemeClr val="bg2"/>
                </a:solidFill>
                <a:latin typeface="+mj-lt"/>
              </a:rPr>
              <a:t>Vitae</a:t>
            </a:r>
            <a:r>
              <a:rPr kumimoji="0" lang="en-US" sz="1600" b="1" i="0" u="none" strike="noStrike" kern="1200" cap="none" spc="0" normalizeH="0" baseline="0" noProof="0" dirty="0">
                <a:ln>
                  <a:noFill/>
                </a:ln>
                <a:solidFill>
                  <a:schemeClr val="bg2"/>
                </a:solidFill>
                <a:effectLst/>
                <a:uLnTx/>
                <a:uFillTx/>
                <a:latin typeface="+mj-lt"/>
                <a:ea typeface="+mn-ea"/>
                <a:cs typeface="+mn-cs"/>
              </a:rPr>
              <a:t> Quam</a:t>
            </a:r>
          </a:p>
          <a:p>
            <a:pPr>
              <a:lnSpc>
                <a:spcPct val="150000"/>
              </a:lnSpc>
            </a:pP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4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4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400" dirty="0">
                <a:solidFill>
                  <a:schemeClr val="bg2"/>
                </a:solidFill>
                <a:latin typeface="+mj-lt"/>
              </a:rPr>
              <a:t>Vitae</a:t>
            </a:r>
            <a:r>
              <a:rPr kumimoji="0" lang="en-US" sz="1400" b="0" i="0" u="none" strike="noStrike" kern="1200" cap="none" spc="0" normalizeH="0" baseline="0" noProof="0" dirty="0">
                <a:ln>
                  <a:noFill/>
                </a:ln>
                <a:solidFill>
                  <a:schemeClr val="bg2"/>
                </a:solidFill>
                <a:effectLst/>
                <a:uLnTx/>
                <a:uFillTx/>
                <a:latin typeface="+mj-lt"/>
                <a:ea typeface="+mn-ea"/>
                <a:cs typeface="+mn-cs"/>
              </a:rPr>
              <a:t> quam quis leo at quis odio. </a:t>
            </a:r>
            <a:endParaRPr kumimoji="0" lang="en-US" sz="1400" i="0" u="none" strike="noStrike" kern="1200" cap="none" spc="0" normalizeH="0" baseline="0" noProof="0" dirty="0">
              <a:ln>
                <a:noFill/>
              </a:ln>
              <a:solidFill>
                <a:schemeClr val="bg2"/>
              </a:solidFill>
              <a:effectLst/>
              <a:uLnTx/>
              <a:uFillTx/>
              <a:latin typeface="+mj-lt"/>
              <a:ea typeface="+mn-ea"/>
              <a:cs typeface="+mn-cs"/>
            </a:endParaRPr>
          </a:p>
        </p:txBody>
      </p:sp>
    </p:spTree>
    <p:extLst>
      <p:ext uri="{BB962C8B-B14F-4D97-AF65-F5344CB8AC3E}">
        <p14:creationId xmlns:p14="http://schemas.microsoft.com/office/powerpoint/2010/main" val="3956068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25" name="Rectangle: Rounded Corners 24">
            <a:extLst>
              <a:ext uri="{FF2B5EF4-FFF2-40B4-BE49-F238E27FC236}">
                <a16:creationId xmlns:a16="http://schemas.microsoft.com/office/drawing/2014/main" id="{EE47316F-41E8-68C0-898F-3ED8FC7651F0}"/>
              </a:ext>
            </a:extLst>
          </p:cNvPr>
          <p:cNvSpPr/>
          <p:nvPr/>
        </p:nvSpPr>
        <p:spPr>
          <a:xfrm>
            <a:off x="554300" y="4041912"/>
            <a:ext cx="11081656" cy="2058961"/>
          </a:xfrm>
          <a:prstGeom prst="roundRect">
            <a:avLst>
              <a:gd name="adj" fmla="val 19221"/>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445725D3-6D42-743F-52FD-17EC38788287}"/>
              </a:ext>
            </a:extLst>
          </p:cNvPr>
          <p:cNvSpPr txBox="1"/>
          <p:nvPr/>
        </p:nvSpPr>
        <p:spPr>
          <a:xfrm>
            <a:off x="1884372" y="4369253"/>
            <a:ext cx="3890649" cy="1404278"/>
          </a:xfrm>
          <a:prstGeom prst="rect">
            <a:avLst/>
          </a:prstGeom>
          <a:noFill/>
        </p:spPr>
        <p:txBody>
          <a:bodyPr wrap="square">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Nullam sed nisi fringilla, faucibus risus quis.</a:t>
            </a:r>
          </a:p>
        </p:txBody>
      </p:sp>
      <p:sp>
        <p:nvSpPr>
          <p:cNvPr id="27" name="TextBox 26">
            <a:extLst>
              <a:ext uri="{FF2B5EF4-FFF2-40B4-BE49-F238E27FC236}">
                <a16:creationId xmlns:a16="http://schemas.microsoft.com/office/drawing/2014/main" id="{9AF6267E-B540-B6D5-2B87-3BA3978FAAD3}"/>
              </a:ext>
            </a:extLst>
          </p:cNvPr>
          <p:cNvSpPr txBox="1"/>
          <p:nvPr/>
        </p:nvSpPr>
        <p:spPr>
          <a:xfrm>
            <a:off x="6880467" y="4369253"/>
            <a:ext cx="3890649" cy="1404278"/>
          </a:xfrm>
          <a:prstGeom prst="rect">
            <a:avLst/>
          </a:prstGeom>
          <a:noFill/>
        </p:spPr>
        <p:txBody>
          <a:bodyPr wrap="square">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Nullam sed nisi fringilla, faucibus risus quis. </a:t>
            </a:r>
          </a:p>
        </p:txBody>
      </p:sp>
      <p:pic>
        <p:nvPicPr>
          <p:cNvPr id="29" name="Graphic 28">
            <a:extLst>
              <a:ext uri="{FF2B5EF4-FFF2-40B4-BE49-F238E27FC236}">
                <a16:creationId xmlns:a16="http://schemas.microsoft.com/office/drawing/2014/main" id="{F1D2AB5F-A0D0-E5D0-5AF2-76F7A2E9F895}"/>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63578" y="4796844"/>
            <a:ext cx="549096" cy="549097"/>
          </a:xfrm>
          <a:prstGeom prst="rect">
            <a:avLst/>
          </a:prstGeom>
        </p:spPr>
      </p:pic>
      <p:pic>
        <p:nvPicPr>
          <p:cNvPr id="30" name="Graphic 29">
            <a:extLst>
              <a:ext uri="{FF2B5EF4-FFF2-40B4-BE49-F238E27FC236}">
                <a16:creationId xmlns:a16="http://schemas.microsoft.com/office/drawing/2014/main" id="{E9D5E0E0-0135-23B3-93FC-191D9909B84A}"/>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61731" y="4796844"/>
            <a:ext cx="549096" cy="549097"/>
          </a:xfrm>
          <a:prstGeom prst="rect">
            <a:avLst/>
          </a:prstGeom>
        </p:spPr>
      </p:pic>
      <p:pic>
        <p:nvPicPr>
          <p:cNvPr id="4" name="Picture 3" descr="Shape&#10;&#10;Description automatically generated">
            <a:extLst>
              <a:ext uri="{FF2B5EF4-FFF2-40B4-BE49-F238E27FC236}">
                <a16:creationId xmlns:a16="http://schemas.microsoft.com/office/drawing/2014/main" id="{A6001505-5B3C-9672-E1E1-FDC43FC3A58B}"/>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634660" y="2013087"/>
            <a:ext cx="1570687" cy="1570688"/>
          </a:xfrm>
          <a:prstGeom prst="roundRect">
            <a:avLst>
              <a:gd name="adj" fmla="val 7770"/>
            </a:avLst>
          </a:prstGeom>
          <a:blipFill>
            <a:blip r:embed="rId9">
              <a:extLst>
                <a:ext uri="{28A0092B-C50C-407E-A947-70E740481C1C}">
                  <a14:useLocalDpi xmlns:a14="http://schemas.microsoft.com/office/drawing/2010/main" val="0"/>
                </a:ext>
              </a:extLst>
            </a:blip>
            <a:srcRect/>
            <a:stretch>
              <a:fillRect l="-10000" r="-10000"/>
            </a:stretch>
          </a:blipFill>
          <a:ln>
            <a:noFill/>
          </a:ln>
        </p:spPr>
      </p:pic>
      <p:sp>
        <p:nvSpPr>
          <p:cNvPr id="7" name="TextBox 6">
            <a:extLst>
              <a:ext uri="{FF2B5EF4-FFF2-40B4-BE49-F238E27FC236}">
                <a16:creationId xmlns:a16="http://schemas.microsoft.com/office/drawing/2014/main" id="{D7559F31-A94D-2B6A-3260-AB9B08CD7997}"/>
              </a:ext>
            </a:extLst>
          </p:cNvPr>
          <p:cNvSpPr txBox="1"/>
          <p:nvPr/>
        </p:nvSpPr>
        <p:spPr>
          <a:xfrm>
            <a:off x="2410037" y="2013087"/>
            <a:ext cx="1730543" cy="272319"/>
          </a:xfrm>
          <a:prstGeom prst="rect">
            <a:avLst/>
          </a:prstGeom>
          <a:noFill/>
        </p:spPr>
        <p:txBody>
          <a:bodyPr wrap="square">
            <a:spAutoFit/>
          </a:bodyPr>
          <a:lstStyle/>
          <a:p>
            <a:pPr algn="ct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a:t>
            </a:r>
            <a:endParaRPr lang="en-US" sz="1600" b="1" dirty="0"/>
          </a:p>
        </p:txBody>
      </p:sp>
      <p:sp>
        <p:nvSpPr>
          <p:cNvPr id="3" name="TextBox 2">
            <a:extLst>
              <a:ext uri="{FF2B5EF4-FFF2-40B4-BE49-F238E27FC236}">
                <a16:creationId xmlns:a16="http://schemas.microsoft.com/office/drawing/2014/main" id="{0EFFE64B-9A5E-3E85-B698-C0CFCC4C72EB}"/>
              </a:ext>
            </a:extLst>
          </p:cNvPr>
          <p:cNvSpPr txBox="1"/>
          <p:nvPr/>
        </p:nvSpPr>
        <p:spPr>
          <a:xfrm>
            <a:off x="2410037" y="2318170"/>
            <a:ext cx="3365856" cy="1265605"/>
          </a:xfrm>
          <a:prstGeom prst="rect">
            <a:avLst/>
          </a:prstGeom>
          <a:noFill/>
        </p:spPr>
        <p:txBody>
          <a:bodyPr wrap="square">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pic>
        <p:nvPicPr>
          <p:cNvPr id="10" name="Picture 9" descr="Shape&#10;&#10;Description automatically generated">
            <a:extLst>
              <a:ext uri="{FF2B5EF4-FFF2-40B4-BE49-F238E27FC236}">
                <a16:creationId xmlns:a16="http://schemas.microsoft.com/office/drawing/2014/main" id="{DBD30380-EB17-FCF4-9169-A5A865DCBA8B}"/>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6416107" y="2013087"/>
            <a:ext cx="1570687" cy="1570688"/>
          </a:xfrm>
          <a:prstGeom prst="roundRect">
            <a:avLst>
              <a:gd name="adj" fmla="val 7770"/>
            </a:avLst>
          </a:prstGeom>
          <a:blipFill>
            <a:blip r:embed="rId9">
              <a:extLst>
                <a:ext uri="{28A0092B-C50C-407E-A947-70E740481C1C}">
                  <a14:useLocalDpi xmlns:a14="http://schemas.microsoft.com/office/drawing/2010/main" val="0"/>
                </a:ext>
              </a:extLst>
            </a:blip>
            <a:srcRect/>
            <a:stretch>
              <a:fillRect l="-10000" r="-10000"/>
            </a:stretch>
          </a:blipFill>
          <a:ln>
            <a:noFill/>
          </a:ln>
        </p:spPr>
      </p:pic>
      <p:sp>
        <p:nvSpPr>
          <p:cNvPr id="11" name="TextBox 10">
            <a:extLst>
              <a:ext uri="{FF2B5EF4-FFF2-40B4-BE49-F238E27FC236}">
                <a16:creationId xmlns:a16="http://schemas.microsoft.com/office/drawing/2014/main" id="{643F1694-8B3C-F0B1-B505-840244BF5509}"/>
              </a:ext>
            </a:extLst>
          </p:cNvPr>
          <p:cNvSpPr txBox="1"/>
          <p:nvPr/>
        </p:nvSpPr>
        <p:spPr>
          <a:xfrm>
            <a:off x="8191484" y="2013087"/>
            <a:ext cx="1730543" cy="272319"/>
          </a:xfrm>
          <a:prstGeom prst="rect">
            <a:avLst/>
          </a:prstGeom>
          <a:noFill/>
        </p:spPr>
        <p:txBody>
          <a:bodyPr wrap="square">
            <a:spAutoFit/>
          </a:bodyPr>
          <a:lstStyle/>
          <a:p>
            <a:pPr algn="ct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a:t>
            </a:r>
            <a:endParaRPr lang="en-US" sz="1600" b="1" dirty="0"/>
          </a:p>
        </p:txBody>
      </p:sp>
      <p:sp>
        <p:nvSpPr>
          <p:cNvPr id="12" name="TextBox 11">
            <a:extLst>
              <a:ext uri="{FF2B5EF4-FFF2-40B4-BE49-F238E27FC236}">
                <a16:creationId xmlns:a16="http://schemas.microsoft.com/office/drawing/2014/main" id="{ACF21701-23E7-6BB9-48BB-C6D2E467F84B}"/>
              </a:ext>
            </a:extLst>
          </p:cNvPr>
          <p:cNvSpPr txBox="1"/>
          <p:nvPr/>
        </p:nvSpPr>
        <p:spPr>
          <a:xfrm>
            <a:off x="8191484" y="2318170"/>
            <a:ext cx="3365856" cy="1265605"/>
          </a:xfrm>
          <a:prstGeom prst="rect">
            <a:avLst/>
          </a:prstGeom>
          <a:noFill/>
        </p:spPr>
        <p:txBody>
          <a:bodyPr wrap="square">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spTree>
    <p:custDataLst>
      <p:tags r:id="rId1"/>
    </p:custDataLst>
    <p:extLst>
      <p:ext uri="{BB962C8B-B14F-4D97-AF65-F5344CB8AC3E}">
        <p14:creationId xmlns:p14="http://schemas.microsoft.com/office/powerpoint/2010/main" val="2730051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pic>
        <p:nvPicPr>
          <p:cNvPr id="3" name="Picture 2" descr="Shape&#10;&#10;Description automatically generated">
            <a:extLst>
              <a:ext uri="{FF2B5EF4-FFF2-40B4-BE49-F238E27FC236}">
                <a16:creationId xmlns:a16="http://schemas.microsoft.com/office/drawing/2014/main" id="{C6D1B681-29E9-E9D7-2B2B-3C92583F8C96}"/>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371594" y="2775860"/>
            <a:ext cx="2275059" cy="2275061"/>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grpSp>
        <p:nvGrpSpPr>
          <p:cNvPr id="12" name="Group 11">
            <a:extLst>
              <a:ext uri="{FF2B5EF4-FFF2-40B4-BE49-F238E27FC236}">
                <a16:creationId xmlns:a16="http://schemas.microsoft.com/office/drawing/2014/main" id="{D06F613D-1EC0-F7BF-9A67-EE664DD3B96A}"/>
              </a:ext>
            </a:extLst>
          </p:cNvPr>
          <p:cNvGrpSpPr/>
          <p:nvPr/>
        </p:nvGrpSpPr>
        <p:grpSpPr>
          <a:xfrm>
            <a:off x="1139366" y="1563173"/>
            <a:ext cx="9913256" cy="1039884"/>
            <a:chOff x="1175657" y="4301373"/>
            <a:chExt cx="9913256" cy="1705176"/>
          </a:xfrm>
        </p:grpSpPr>
        <p:sp>
          <p:nvSpPr>
            <p:cNvPr id="8" name="Rectangle: Rounded Corners 7">
              <a:extLst>
                <a:ext uri="{FF2B5EF4-FFF2-40B4-BE49-F238E27FC236}">
                  <a16:creationId xmlns:a16="http://schemas.microsoft.com/office/drawing/2014/main" id="{B1E363F1-4900-92C0-2135-5D6849235064}"/>
                </a:ext>
              </a:extLst>
            </p:cNvPr>
            <p:cNvSpPr/>
            <p:nvPr/>
          </p:nvSpPr>
          <p:spPr>
            <a:xfrm>
              <a:off x="1175657" y="4301373"/>
              <a:ext cx="9913256" cy="1705176"/>
            </a:xfrm>
            <a:prstGeom prst="roundRect">
              <a:avLst>
                <a:gd name="adj" fmla="val 19221"/>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4BB3FAC-084C-E4CE-AF48-424BF068F4F5}"/>
                </a:ext>
              </a:extLst>
            </p:cNvPr>
            <p:cNvSpPr txBox="1"/>
            <p:nvPr/>
          </p:nvSpPr>
          <p:spPr>
            <a:xfrm>
              <a:off x="1494971" y="4572469"/>
              <a:ext cx="9274629" cy="1162985"/>
            </a:xfrm>
            <a:prstGeom prst="rect">
              <a:avLst/>
            </a:prstGeom>
            <a:noFill/>
          </p:spPr>
          <p:txBody>
            <a:bodyPr wrap="square" anchor="ctr">
              <a:noAutofit/>
            </a:bodyPr>
            <a:lstStyle/>
            <a:p>
              <a:pPr algn="ct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grpSp>
      <p:grpSp>
        <p:nvGrpSpPr>
          <p:cNvPr id="15" name="Group 14">
            <a:extLst>
              <a:ext uri="{FF2B5EF4-FFF2-40B4-BE49-F238E27FC236}">
                <a16:creationId xmlns:a16="http://schemas.microsoft.com/office/drawing/2014/main" id="{8B96D8B9-F5D3-0A63-75D0-390DB5C63358}"/>
              </a:ext>
            </a:extLst>
          </p:cNvPr>
          <p:cNvGrpSpPr/>
          <p:nvPr/>
        </p:nvGrpSpPr>
        <p:grpSpPr>
          <a:xfrm>
            <a:off x="1139366" y="5223725"/>
            <a:ext cx="9913256" cy="1039884"/>
            <a:chOff x="1175657" y="4301373"/>
            <a:chExt cx="9913256" cy="1705176"/>
          </a:xfrm>
        </p:grpSpPr>
        <p:sp>
          <p:nvSpPr>
            <p:cNvPr id="18" name="Rectangle: Rounded Corners 17">
              <a:extLst>
                <a:ext uri="{FF2B5EF4-FFF2-40B4-BE49-F238E27FC236}">
                  <a16:creationId xmlns:a16="http://schemas.microsoft.com/office/drawing/2014/main" id="{97D0B5FD-D185-1B78-028F-402CAE55AAAC}"/>
                </a:ext>
              </a:extLst>
            </p:cNvPr>
            <p:cNvSpPr/>
            <p:nvPr/>
          </p:nvSpPr>
          <p:spPr>
            <a:xfrm>
              <a:off x="1175657" y="4301373"/>
              <a:ext cx="9913256" cy="1705176"/>
            </a:xfrm>
            <a:prstGeom prst="roundRect">
              <a:avLst>
                <a:gd name="adj" fmla="val 19221"/>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B17EA937-DC0B-AA66-11BC-FBB79049D292}"/>
                </a:ext>
              </a:extLst>
            </p:cNvPr>
            <p:cNvSpPr txBox="1"/>
            <p:nvPr/>
          </p:nvSpPr>
          <p:spPr>
            <a:xfrm>
              <a:off x="1494971" y="4572469"/>
              <a:ext cx="9274629" cy="1162985"/>
            </a:xfrm>
            <a:prstGeom prst="rect">
              <a:avLst/>
            </a:prstGeom>
            <a:noFill/>
          </p:spPr>
          <p:txBody>
            <a:bodyPr wrap="square" anchor="ctr">
              <a:noAutofit/>
            </a:bodyPr>
            <a:lstStyle/>
            <a:p>
              <a:pPr algn="ct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grpSp>
      <p:pic>
        <p:nvPicPr>
          <p:cNvPr id="21" name="Picture 20" descr="Shape&#10;&#10;Description automatically generated">
            <a:extLst>
              <a:ext uri="{FF2B5EF4-FFF2-40B4-BE49-F238E27FC236}">
                <a16:creationId xmlns:a16="http://schemas.microsoft.com/office/drawing/2014/main" id="{BEAB4948-AA2A-7057-F2B3-12CD2AFF4454}"/>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154098" y="2775860"/>
            <a:ext cx="2275059" cy="2275061"/>
          </a:xfrm>
          <a:prstGeom prst="roundRect">
            <a:avLst>
              <a:gd name="adj" fmla="val 7770"/>
            </a:avLst>
          </a:prstGeom>
          <a:blipFill>
            <a:blip r:embed="rId5">
              <a:extLst>
                <a:ext uri="{28A0092B-C50C-407E-A947-70E740481C1C}">
                  <a14:useLocalDpi xmlns:a14="http://schemas.microsoft.com/office/drawing/2010/main" val="0"/>
                </a:ext>
              </a:extLst>
            </a:blip>
            <a:srcRect/>
            <a:stretch>
              <a:fillRect l="-10000" r="-10000"/>
            </a:stretch>
          </a:blipFill>
          <a:ln>
            <a:noFill/>
          </a:ln>
        </p:spPr>
      </p:pic>
      <p:sp>
        <p:nvSpPr>
          <p:cNvPr id="4" name="TextBox 3">
            <a:extLst>
              <a:ext uri="{FF2B5EF4-FFF2-40B4-BE49-F238E27FC236}">
                <a16:creationId xmlns:a16="http://schemas.microsoft.com/office/drawing/2014/main" id="{70EA8690-C864-CF21-E5BF-69D3ED732C92}"/>
              </a:ext>
            </a:extLst>
          </p:cNvPr>
          <p:cNvSpPr txBox="1">
            <a:spLocks/>
          </p:cNvSpPr>
          <p:nvPr/>
        </p:nvSpPr>
        <p:spPr>
          <a:xfrm>
            <a:off x="3762846" y="2775860"/>
            <a:ext cx="2275059" cy="2275061"/>
          </a:xfrm>
          <a:prstGeom prst="rect">
            <a:avLst/>
          </a:prstGeom>
          <a:noFill/>
        </p:spPr>
        <p:txBody>
          <a:bodyPr wrap="square" anchor="ctr">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sp>
        <p:nvSpPr>
          <p:cNvPr id="7" name="TextBox 6">
            <a:extLst>
              <a:ext uri="{FF2B5EF4-FFF2-40B4-BE49-F238E27FC236}">
                <a16:creationId xmlns:a16="http://schemas.microsoft.com/office/drawing/2014/main" id="{C35E9637-A69B-4030-B459-1BAF93D653BE}"/>
              </a:ext>
            </a:extLst>
          </p:cNvPr>
          <p:cNvSpPr txBox="1">
            <a:spLocks/>
          </p:cNvSpPr>
          <p:nvPr/>
        </p:nvSpPr>
        <p:spPr>
          <a:xfrm>
            <a:off x="8545349" y="2775860"/>
            <a:ext cx="2275059" cy="2275061"/>
          </a:xfrm>
          <a:prstGeom prst="rect">
            <a:avLst/>
          </a:prstGeom>
          <a:noFill/>
        </p:spPr>
        <p:txBody>
          <a:bodyPr wrap="square" anchor="ctr">
            <a:noAutofit/>
          </a:bodyPr>
          <a:lstStyle/>
          <a:p>
            <a:pPr>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p:txBody>
      </p:sp>
    </p:spTree>
    <p:custDataLst>
      <p:tags r:id="rId1"/>
    </p:custDataLst>
    <p:extLst>
      <p:ext uri="{BB962C8B-B14F-4D97-AF65-F5344CB8AC3E}">
        <p14:creationId xmlns:p14="http://schemas.microsoft.com/office/powerpoint/2010/main" val="36602116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5. Sourc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SHAPENAME" val="TopLin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9.xml><?xml version="1.0" encoding="utf-8"?>
<p:tagLst xmlns:a="http://schemas.openxmlformats.org/drawingml/2006/main" xmlns:r="http://schemas.openxmlformats.org/officeDocument/2006/relationships" xmlns:p="http://schemas.openxmlformats.org/presentationml/2006/main">
  <p:tag name="NAME" val="AUXI_ENCLOSED_ICON"/>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2.xml><?xml version="1.0" encoding="utf-8"?>
<p:tagLst xmlns:a="http://schemas.openxmlformats.org/drawingml/2006/main" xmlns:r="http://schemas.openxmlformats.org/officeDocument/2006/relationships" xmlns:p="http://schemas.openxmlformats.org/presentationml/2006/main">
  <p:tag name="NAME" val="CustomIcon"/>
</p:tagLst>
</file>

<file path=ppt/tags/tag53.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 name="AUXI_ENCLOSE_COLOR_RGB" val="16777215"/>
</p:tagLst>
</file>

<file path=ppt/tags/tag5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4">
      <a:dk1>
        <a:srgbClr val="3F3F3F"/>
      </a:dk1>
      <a:lt1>
        <a:srgbClr val="FFFFFF"/>
      </a:lt1>
      <a:dk2>
        <a:srgbClr val="3F3F3F"/>
      </a:dk2>
      <a:lt2>
        <a:srgbClr val="E7E6E6"/>
      </a:lt2>
      <a:accent1>
        <a:srgbClr val="80C7A7"/>
      </a:accent1>
      <a:accent2>
        <a:srgbClr val="92667D"/>
      </a:accent2>
      <a:accent3>
        <a:srgbClr val="D17083"/>
      </a:accent3>
      <a:accent4>
        <a:srgbClr val="FF788B"/>
      </a:accent4>
      <a:accent5>
        <a:srgbClr val="3C5D7A"/>
      </a:accent5>
      <a:accent6>
        <a:srgbClr val="92667D"/>
      </a:accent6>
      <a:hlink>
        <a:srgbClr val="0563C1"/>
      </a:hlink>
      <a:folHlink>
        <a:srgbClr val="954F72"/>
      </a:folHlink>
    </a:clrScheme>
    <a:fontScheme name="Office">
      <a:majorFont>
        <a:latin typeface="Tahoma"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ahom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7</TotalTime>
  <Words>1078</Words>
  <Application>Microsoft Office PowerPoint</Application>
  <PresentationFormat>Widescreen</PresentationFormat>
  <Paragraphs>91</Paragraphs>
  <Slides>8</Slides>
  <Notes>7</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8</vt:i4>
      </vt:variant>
    </vt:vector>
  </HeadingPairs>
  <TitlesOfParts>
    <vt:vector size="14" baseType="lpstr">
      <vt:lpstr>Arial</vt:lpstr>
      <vt:lpstr>Calibri</vt:lpstr>
      <vt:lpstr>Segoe UI</vt:lpstr>
      <vt:lpstr>Tahoma</vt:lpstr>
      <vt:lpstr>2_Office Theme</vt:lpstr>
      <vt:lpstr>3_Office Theme</vt:lpstr>
      <vt:lpstr>Enter Title Here</vt:lpstr>
      <vt:lpstr>Enter Title Here</vt:lpstr>
      <vt:lpstr>Enter Title Here</vt:lpstr>
      <vt:lpstr>Enter Title Here</vt:lpstr>
      <vt:lpstr>Enter Title Here</vt:lpstr>
      <vt:lpstr>Enter Title Here</vt:lpstr>
      <vt:lpstr>Enter Title Here</vt:lpstr>
      <vt:lpstr>Enter Title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112</cp:revision>
  <dcterms:created xsi:type="dcterms:W3CDTF">2022-10-25T11:11:06Z</dcterms:created>
  <dcterms:modified xsi:type="dcterms:W3CDTF">2023-03-08T11:31:23Z</dcterms:modified>
</cp:coreProperties>
</file>